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8" r:id="rId5"/>
    <p:sldId id="285" r:id="rId6"/>
    <p:sldId id="269" r:id="rId7"/>
    <p:sldId id="270" r:id="rId8"/>
    <p:sldId id="266" r:id="rId9"/>
    <p:sldId id="278" r:id="rId10"/>
    <p:sldId id="279" r:id="rId11"/>
    <p:sldId id="280" r:id="rId12"/>
    <p:sldId id="281" r:id="rId13"/>
    <p:sldId id="287" r:id="rId14"/>
    <p:sldId id="288" r:id="rId15"/>
    <p:sldId id="289" r:id="rId16"/>
    <p:sldId id="283" r:id="rId17"/>
    <p:sldId id="286" r:id="rId18"/>
    <p:sldId id="290" r:id="rId19"/>
    <p:sldId id="291" r:id="rId20"/>
    <p:sldId id="292" r:id="rId21"/>
    <p:sldId id="293" r:id="rId22"/>
    <p:sldId id="294" r:id="rId23"/>
    <p:sldId id="295" r:id="rId24"/>
    <p:sldId id="284" r:id="rId25"/>
    <p:sldId id="27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67A"/>
    <a:srgbClr val="0D1D51"/>
    <a:srgbClr val="0072C7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18" autoAdjust="0"/>
    <p:restoredTop sz="87949" autoAdjust="0"/>
  </p:normalViewPr>
  <p:slideViewPr>
    <p:cSldViewPr snapToGrid="0" showGuides="1">
      <p:cViewPr varScale="1">
        <p:scale>
          <a:sx n="111" d="100"/>
          <a:sy n="111" d="100"/>
        </p:scale>
        <p:origin x="224" y="4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60" y="-14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816E48-CB66-AB4C-A1F4-930597E9F0F3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/>
      <dgm:spPr/>
      <dgm:t>
        <a:bodyPr/>
        <a:lstStyle/>
        <a:p>
          <a:endParaRPr lang="en-US"/>
        </a:p>
      </dgm:t>
    </dgm:pt>
    <dgm:pt modelId="{54695993-F431-0B44-A5CA-7954C33FB0E5}">
      <dgm:prSet/>
      <dgm:spPr/>
      <dgm:t>
        <a:bodyPr/>
        <a:lstStyle/>
        <a:p>
          <a:r>
            <a:rPr lang="en-US"/>
            <a:t>Relasi</a:t>
          </a:r>
          <a:endParaRPr lang="en-ID"/>
        </a:p>
      </dgm:t>
    </dgm:pt>
    <dgm:pt modelId="{60390BA8-2E0F-DF40-B908-CE1E814FA780}" type="parTrans" cxnId="{D60520A1-6EB3-E04E-BF8E-E257AA8F54ED}">
      <dgm:prSet/>
      <dgm:spPr/>
      <dgm:t>
        <a:bodyPr/>
        <a:lstStyle/>
        <a:p>
          <a:endParaRPr lang="en-US"/>
        </a:p>
      </dgm:t>
    </dgm:pt>
    <dgm:pt modelId="{2A2C49A3-DADC-6147-94D8-96F19ED79993}" type="sibTrans" cxnId="{D60520A1-6EB3-E04E-BF8E-E257AA8F54ED}">
      <dgm:prSet/>
      <dgm:spPr/>
      <dgm:t>
        <a:bodyPr/>
        <a:lstStyle/>
        <a:p>
          <a:endParaRPr lang="en-US"/>
        </a:p>
      </dgm:t>
    </dgm:pt>
    <dgm:pt modelId="{7FEF7526-81B3-854C-A2E2-31195292ED3A}">
      <dgm:prSet/>
      <dgm:spPr/>
      <dgm:t>
        <a:bodyPr/>
        <a:lstStyle/>
        <a:p>
          <a:r>
            <a:rPr lang="en-US"/>
            <a:t>Sebuah table yang terdiri dari beberapa kolom dan beberapa baris</a:t>
          </a:r>
          <a:endParaRPr lang="en-ID"/>
        </a:p>
      </dgm:t>
    </dgm:pt>
    <dgm:pt modelId="{B987A32C-2828-3644-94B5-78382588DC26}" type="parTrans" cxnId="{57B0ABAB-7B04-5F4D-8DE8-E841AA3F1C1A}">
      <dgm:prSet/>
      <dgm:spPr/>
      <dgm:t>
        <a:bodyPr/>
        <a:lstStyle/>
        <a:p>
          <a:endParaRPr lang="en-US"/>
        </a:p>
      </dgm:t>
    </dgm:pt>
    <dgm:pt modelId="{E22F5FBA-3BDE-634F-9441-8CE4310B8BC7}" type="sibTrans" cxnId="{57B0ABAB-7B04-5F4D-8DE8-E841AA3F1C1A}">
      <dgm:prSet/>
      <dgm:spPr/>
      <dgm:t>
        <a:bodyPr/>
        <a:lstStyle/>
        <a:p>
          <a:endParaRPr lang="en-US"/>
        </a:p>
      </dgm:t>
    </dgm:pt>
    <dgm:pt modelId="{6D5FB692-A7B4-E247-9BAD-F1B92477FC88}">
      <dgm:prSet/>
      <dgm:spPr/>
      <dgm:t>
        <a:bodyPr/>
        <a:lstStyle/>
        <a:p>
          <a:r>
            <a:rPr lang="en-US"/>
            <a:t>Atribut</a:t>
          </a:r>
          <a:endParaRPr lang="en-ID"/>
        </a:p>
      </dgm:t>
    </dgm:pt>
    <dgm:pt modelId="{1C8AFBF3-26AE-784D-913A-9475C2190E6B}" type="parTrans" cxnId="{E950BF98-AB7B-FF4D-8E8F-C2DA5734FB22}">
      <dgm:prSet/>
      <dgm:spPr/>
      <dgm:t>
        <a:bodyPr/>
        <a:lstStyle/>
        <a:p>
          <a:endParaRPr lang="en-US"/>
        </a:p>
      </dgm:t>
    </dgm:pt>
    <dgm:pt modelId="{578C2F6B-29D2-2145-9A5D-C717280C5738}" type="sibTrans" cxnId="{E950BF98-AB7B-FF4D-8E8F-C2DA5734FB22}">
      <dgm:prSet/>
      <dgm:spPr/>
      <dgm:t>
        <a:bodyPr/>
        <a:lstStyle/>
        <a:p>
          <a:endParaRPr lang="en-US"/>
        </a:p>
      </dgm:t>
    </dgm:pt>
    <dgm:pt modelId="{31BBC7B6-3E72-F747-8099-A6C0CD7C6BB9}">
      <dgm:prSet/>
      <dgm:spPr/>
      <dgm:t>
        <a:bodyPr/>
        <a:lstStyle/>
        <a:p>
          <a:r>
            <a:rPr lang="en-US"/>
            <a:t>Kolom pada sebuah relasi</a:t>
          </a:r>
          <a:endParaRPr lang="en-ID"/>
        </a:p>
      </dgm:t>
    </dgm:pt>
    <dgm:pt modelId="{0E5864EB-D942-3648-8976-EE8B69F1401D}" type="parTrans" cxnId="{C138F6B9-4402-B049-B4E3-146F7BD9F85E}">
      <dgm:prSet/>
      <dgm:spPr/>
      <dgm:t>
        <a:bodyPr/>
        <a:lstStyle/>
        <a:p>
          <a:endParaRPr lang="en-US"/>
        </a:p>
      </dgm:t>
    </dgm:pt>
    <dgm:pt modelId="{FE8C2877-AA34-3541-BC41-505C9514F9D5}" type="sibTrans" cxnId="{C138F6B9-4402-B049-B4E3-146F7BD9F85E}">
      <dgm:prSet/>
      <dgm:spPr/>
      <dgm:t>
        <a:bodyPr/>
        <a:lstStyle/>
        <a:p>
          <a:endParaRPr lang="en-US"/>
        </a:p>
      </dgm:t>
    </dgm:pt>
    <dgm:pt modelId="{D0847C54-EEBD-0648-9F0F-E90A19241D41}">
      <dgm:prSet/>
      <dgm:spPr/>
      <dgm:t>
        <a:bodyPr/>
        <a:lstStyle/>
        <a:p>
          <a:r>
            <a:rPr lang="en-US"/>
            <a:t>Derajat</a:t>
          </a:r>
          <a:endParaRPr lang="en-ID"/>
        </a:p>
      </dgm:t>
    </dgm:pt>
    <dgm:pt modelId="{BB3CB749-D21A-634B-929E-B6BBEC74AD17}" type="parTrans" cxnId="{B21014CC-6980-6946-8D01-8827275F1FBB}">
      <dgm:prSet/>
      <dgm:spPr/>
      <dgm:t>
        <a:bodyPr/>
        <a:lstStyle/>
        <a:p>
          <a:endParaRPr lang="en-US"/>
        </a:p>
      </dgm:t>
    </dgm:pt>
    <dgm:pt modelId="{1842C46F-5E2D-E147-921A-0294F9BA5B4D}" type="sibTrans" cxnId="{B21014CC-6980-6946-8D01-8827275F1FBB}">
      <dgm:prSet/>
      <dgm:spPr/>
      <dgm:t>
        <a:bodyPr/>
        <a:lstStyle/>
        <a:p>
          <a:endParaRPr lang="en-US"/>
        </a:p>
      </dgm:t>
    </dgm:pt>
    <dgm:pt modelId="{3C8C55C7-69BF-0E40-A4CB-BF14D77FDF05}">
      <dgm:prSet/>
      <dgm:spPr/>
      <dgm:t>
        <a:bodyPr/>
        <a:lstStyle/>
        <a:p>
          <a:r>
            <a:rPr lang="en-US"/>
            <a:t>Jumlah atribut dalam sebuah relasi</a:t>
          </a:r>
          <a:endParaRPr lang="en-ID"/>
        </a:p>
      </dgm:t>
    </dgm:pt>
    <dgm:pt modelId="{E772C6CF-EE6E-5847-8A5F-B863661800EF}" type="parTrans" cxnId="{F3F783D6-7E4A-7646-8DF4-BB30310307FA}">
      <dgm:prSet/>
      <dgm:spPr/>
      <dgm:t>
        <a:bodyPr/>
        <a:lstStyle/>
        <a:p>
          <a:endParaRPr lang="en-US"/>
        </a:p>
      </dgm:t>
    </dgm:pt>
    <dgm:pt modelId="{6B538817-B187-8D4B-8F5B-8547D2AAA2D8}" type="sibTrans" cxnId="{F3F783D6-7E4A-7646-8DF4-BB30310307FA}">
      <dgm:prSet/>
      <dgm:spPr/>
      <dgm:t>
        <a:bodyPr/>
        <a:lstStyle/>
        <a:p>
          <a:endParaRPr lang="en-US"/>
        </a:p>
      </dgm:t>
    </dgm:pt>
    <dgm:pt modelId="{DB658E59-496A-B342-973C-75B9BA4E8D25}">
      <dgm:prSet/>
      <dgm:spPr/>
      <dgm:t>
        <a:bodyPr/>
        <a:lstStyle/>
        <a:p>
          <a:r>
            <a:rPr lang="en-US"/>
            <a:t>Tupel</a:t>
          </a:r>
          <a:endParaRPr lang="en-ID"/>
        </a:p>
      </dgm:t>
    </dgm:pt>
    <dgm:pt modelId="{26E7B144-7D84-DD4F-A8A8-D0A1E7CD09DF}" type="parTrans" cxnId="{0852DB67-F1DC-F343-B24A-2CC5F4904A6B}">
      <dgm:prSet/>
      <dgm:spPr/>
      <dgm:t>
        <a:bodyPr/>
        <a:lstStyle/>
        <a:p>
          <a:endParaRPr lang="en-US"/>
        </a:p>
      </dgm:t>
    </dgm:pt>
    <dgm:pt modelId="{2FE665F4-1BC2-8640-B365-E46A64C3E43E}" type="sibTrans" cxnId="{0852DB67-F1DC-F343-B24A-2CC5F4904A6B}">
      <dgm:prSet/>
      <dgm:spPr/>
      <dgm:t>
        <a:bodyPr/>
        <a:lstStyle/>
        <a:p>
          <a:endParaRPr lang="en-US"/>
        </a:p>
      </dgm:t>
    </dgm:pt>
    <dgm:pt modelId="{EC218F87-1172-6A48-8720-63D6FF59F022}">
      <dgm:prSet/>
      <dgm:spPr/>
      <dgm:t>
        <a:bodyPr/>
        <a:lstStyle/>
        <a:p>
          <a:r>
            <a:rPr lang="en-US"/>
            <a:t>Baris pada sebuah relasi</a:t>
          </a:r>
          <a:endParaRPr lang="en-ID"/>
        </a:p>
      </dgm:t>
    </dgm:pt>
    <dgm:pt modelId="{75E667FB-E96E-3147-A784-E0308BA4AFFF}" type="parTrans" cxnId="{71FA683C-5BC8-FE44-9A02-C2CE052C6457}">
      <dgm:prSet/>
      <dgm:spPr/>
      <dgm:t>
        <a:bodyPr/>
        <a:lstStyle/>
        <a:p>
          <a:endParaRPr lang="en-US"/>
        </a:p>
      </dgm:t>
    </dgm:pt>
    <dgm:pt modelId="{12065E09-A3F4-5842-84C9-65D3C9F5A97A}" type="sibTrans" cxnId="{71FA683C-5BC8-FE44-9A02-C2CE052C6457}">
      <dgm:prSet/>
      <dgm:spPr/>
      <dgm:t>
        <a:bodyPr/>
        <a:lstStyle/>
        <a:p>
          <a:endParaRPr lang="en-US"/>
        </a:p>
      </dgm:t>
    </dgm:pt>
    <dgm:pt modelId="{5D3CD510-77FB-A34D-9500-D7A729EC018C}">
      <dgm:prSet/>
      <dgm:spPr/>
      <dgm:t>
        <a:bodyPr/>
        <a:lstStyle/>
        <a:p>
          <a:r>
            <a:rPr lang="en-US"/>
            <a:t>Kardinalitas</a:t>
          </a:r>
          <a:endParaRPr lang="en-ID"/>
        </a:p>
      </dgm:t>
    </dgm:pt>
    <dgm:pt modelId="{81E88EE0-A7E3-3147-B2D7-07C6D1E91F5B}" type="parTrans" cxnId="{FFC68144-08CA-3444-9C71-8AFA81286B49}">
      <dgm:prSet/>
      <dgm:spPr/>
      <dgm:t>
        <a:bodyPr/>
        <a:lstStyle/>
        <a:p>
          <a:endParaRPr lang="en-US"/>
        </a:p>
      </dgm:t>
    </dgm:pt>
    <dgm:pt modelId="{FEDAD0A5-A495-C340-970C-A199192AE29E}" type="sibTrans" cxnId="{FFC68144-08CA-3444-9C71-8AFA81286B49}">
      <dgm:prSet/>
      <dgm:spPr/>
      <dgm:t>
        <a:bodyPr/>
        <a:lstStyle/>
        <a:p>
          <a:endParaRPr lang="en-US"/>
        </a:p>
      </dgm:t>
    </dgm:pt>
    <dgm:pt modelId="{3AA0E39E-AAC4-4547-9A38-AA8CF4EC4922}">
      <dgm:prSet/>
      <dgm:spPr/>
      <dgm:t>
        <a:bodyPr/>
        <a:lstStyle/>
        <a:p>
          <a:r>
            <a:rPr lang="en-US"/>
            <a:t>Jumlah tupel dalam sebuah relasi</a:t>
          </a:r>
          <a:endParaRPr lang="en-ID"/>
        </a:p>
      </dgm:t>
    </dgm:pt>
    <dgm:pt modelId="{8299C54A-A735-9748-8C19-CE1C15018762}" type="parTrans" cxnId="{41030977-F987-8D43-92D5-9E1F53E2439D}">
      <dgm:prSet/>
      <dgm:spPr/>
      <dgm:t>
        <a:bodyPr/>
        <a:lstStyle/>
        <a:p>
          <a:endParaRPr lang="en-US"/>
        </a:p>
      </dgm:t>
    </dgm:pt>
    <dgm:pt modelId="{B427922C-7FB3-484D-B397-6FA98FF97565}" type="sibTrans" cxnId="{41030977-F987-8D43-92D5-9E1F53E2439D}">
      <dgm:prSet/>
      <dgm:spPr/>
      <dgm:t>
        <a:bodyPr/>
        <a:lstStyle/>
        <a:p>
          <a:endParaRPr lang="en-US"/>
        </a:p>
      </dgm:t>
    </dgm:pt>
    <dgm:pt modelId="{2464EEE9-50DC-284B-B75E-72A5CA8AC83C}" type="pres">
      <dgm:prSet presAssocID="{9B816E48-CB66-AB4C-A1F4-930597E9F0F3}" presName="Name0" presStyleCnt="0">
        <dgm:presLayoutVars>
          <dgm:dir/>
          <dgm:animLvl val="lvl"/>
          <dgm:resizeHandles val="exact"/>
        </dgm:presLayoutVars>
      </dgm:prSet>
      <dgm:spPr/>
    </dgm:pt>
    <dgm:pt modelId="{F8EBA77A-E732-9B48-BD5B-D7C23FAB57AF}" type="pres">
      <dgm:prSet presAssocID="{54695993-F431-0B44-A5CA-7954C33FB0E5}" presName="linNode" presStyleCnt="0"/>
      <dgm:spPr/>
    </dgm:pt>
    <dgm:pt modelId="{9D970D94-177D-6C45-8872-20E5020ECF4C}" type="pres">
      <dgm:prSet presAssocID="{54695993-F431-0B44-A5CA-7954C33FB0E5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D2231199-D476-E546-ABF4-71E405B6A73D}" type="pres">
      <dgm:prSet presAssocID="{54695993-F431-0B44-A5CA-7954C33FB0E5}" presName="descendantText" presStyleLbl="alignAccFollowNode1" presStyleIdx="0" presStyleCnt="5">
        <dgm:presLayoutVars>
          <dgm:bulletEnabled val="1"/>
        </dgm:presLayoutVars>
      </dgm:prSet>
      <dgm:spPr/>
    </dgm:pt>
    <dgm:pt modelId="{1910E102-4129-364C-96DE-15C223C3C97D}" type="pres">
      <dgm:prSet presAssocID="{2A2C49A3-DADC-6147-94D8-96F19ED79993}" presName="sp" presStyleCnt="0"/>
      <dgm:spPr/>
    </dgm:pt>
    <dgm:pt modelId="{F0250445-96C9-9E47-8A18-EC19A4D04F71}" type="pres">
      <dgm:prSet presAssocID="{6D5FB692-A7B4-E247-9BAD-F1B92477FC88}" presName="linNode" presStyleCnt="0"/>
      <dgm:spPr/>
    </dgm:pt>
    <dgm:pt modelId="{95C6E72A-4E50-D641-B092-8F1F00E9DC8B}" type="pres">
      <dgm:prSet presAssocID="{6D5FB692-A7B4-E247-9BAD-F1B92477FC88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05BBB060-F330-6B43-A462-B97451686927}" type="pres">
      <dgm:prSet presAssocID="{6D5FB692-A7B4-E247-9BAD-F1B92477FC88}" presName="descendantText" presStyleLbl="alignAccFollowNode1" presStyleIdx="1" presStyleCnt="5">
        <dgm:presLayoutVars>
          <dgm:bulletEnabled val="1"/>
        </dgm:presLayoutVars>
      </dgm:prSet>
      <dgm:spPr/>
    </dgm:pt>
    <dgm:pt modelId="{3714DE7B-9CEF-3147-9974-A71C758EDA5A}" type="pres">
      <dgm:prSet presAssocID="{578C2F6B-29D2-2145-9A5D-C717280C5738}" presName="sp" presStyleCnt="0"/>
      <dgm:spPr/>
    </dgm:pt>
    <dgm:pt modelId="{9886935A-27DB-394A-B4D6-EE0ADEFCBBAD}" type="pres">
      <dgm:prSet presAssocID="{D0847C54-EEBD-0648-9F0F-E90A19241D41}" presName="linNode" presStyleCnt="0"/>
      <dgm:spPr/>
    </dgm:pt>
    <dgm:pt modelId="{094838A1-5AA3-2C4A-8164-8194375DF692}" type="pres">
      <dgm:prSet presAssocID="{D0847C54-EEBD-0648-9F0F-E90A19241D41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313023EF-A8B0-6346-A7F1-74076954E353}" type="pres">
      <dgm:prSet presAssocID="{D0847C54-EEBD-0648-9F0F-E90A19241D41}" presName="descendantText" presStyleLbl="alignAccFollowNode1" presStyleIdx="2" presStyleCnt="5">
        <dgm:presLayoutVars>
          <dgm:bulletEnabled val="1"/>
        </dgm:presLayoutVars>
      </dgm:prSet>
      <dgm:spPr/>
    </dgm:pt>
    <dgm:pt modelId="{558FAE64-8ED9-D042-AB5D-81265C5CADEA}" type="pres">
      <dgm:prSet presAssocID="{1842C46F-5E2D-E147-921A-0294F9BA5B4D}" presName="sp" presStyleCnt="0"/>
      <dgm:spPr/>
    </dgm:pt>
    <dgm:pt modelId="{96F43294-81D7-CB47-B6DD-FEEAC4606566}" type="pres">
      <dgm:prSet presAssocID="{DB658E59-496A-B342-973C-75B9BA4E8D25}" presName="linNode" presStyleCnt="0"/>
      <dgm:spPr/>
    </dgm:pt>
    <dgm:pt modelId="{4BFCE98B-BA6E-ED4D-89C6-85B6A9A95C93}" type="pres">
      <dgm:prSet presAssocID="{DB658E59-496A-B342-973C-75B9BA4E8D25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F5C5101F-8B97-6842-BFD2-8AFFB97E8FBB}" type="pres">
      <dgm:prSet presAssocID="{DB658E59-496A-B342-973C-75B9BA4E8D25}" presName="descendantText" presStyleLbl="alignAccFollowNode1" presStyleIdx="3" presStyleCnt="5">
        <dgm:presLayoutVars>
          <dgm:bulletEnabled val="1"/>
        </dgm:presLayoutVars>
      </dgm:prSet>
      <dgm:spPr/>
    </dgm:pt>
    <dgm:pt modelId="{0D39E14F-0083-FF49-955D-016D925172C3}" type="pres">
      <dgm:prSet presAssocID="{2FE665F4-1BC2-8640-B365-E46A64C3E43E}" presName="sp" presStyleCnt="0"/>
      <dgm:spPr/>
    </dgm:pt>
    <dgm:pt modelId="{3FE5B2A8-CE31-0849-88EE-DA53EA3DA7BA}" type="pres">
      <dgm:prSet presAssocID="{5D3CD510-77FB-A34D-9500-D7A729EC018C}" presName="linNode" presStyleCnt="0"/>
      <dgm:spPr/>
    </dgm:pt>
    <dgm:pt modelId="{915E2860-6024-F24D-8082-20FFEAFF425A}" type="pres">
      <dgm:prSet presAssocID="{5D3CD510-77FB-A34D-9500-D7A729EC018C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5AD14937-7C54-3C4C-AB7E-EE9DE0917FA8}" type="pres">
      <dgm:prSet presAssocID="{5D3CD510-77FB-A34D-9500-D7A729EC018C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31B3C008-86EE-7540-8243-D189E09D51C2}" type="presOf" srcId="{6D5FB692-A7B4-E247-9BAD-F1B92477FC88}" destId="{95C6E72A-4E50-D641-B092-8F1F00E9DC8B}" srcOrd="0" destOrd="0" presId="urn:microsoft.com/office/officeart/2005/8/layout/vList5"/>
    <dgm:cxn modelId="{F127010E-AFC6-AD41-9DF2-A167A4205DC6}" type="presOf" srcId="{9B816E48-CB66-AB4C-A1F4-930597E9F0F3}" destId="{2464EEE9-50DC-284B-B75E-72A5CA8AC83C}" srcOrd="0" destOrd="0" presId="urn:microsoft.com/office/officeart/2005/8/layout/vList5"/>
    <dgm:cxn modelId="{0DB74528-FAEE-6A4B-B087-80A302FF6D44}" type="presOf" srcId="{7FEF7526-81B3-854C-A2E2-31195292ED3A}" destId="{D2231199-D476-E546-ABF4-71E405B6A73D}" srcOrd="0" destOrd="0" presId="urn:microsoft.com/office/officeart/2005/8/layout/vList5"/>
    <dgm:cxn modelId="{71FA683C-5BC8-FE44-9A02-C2CE052C6457}" srcId="{DB658E59-496A-B342-973C-75B9BA4E8D25}" destId="{EC218F87-1172-6A48-8720-63D6FF59F022}" srcOrd="0" destOrd="0" parTransId="{75E667FB-E96E-3147-A784-E0308BA4AFFF}" sibTransId="{12065E09-A3F4-5842-84C9-65D3C9F5A97A}"/>
    <dgm:cxn modelId="{FFC68144-08CA-3444-9C71-8AFA81286B49}" srcId="{9B816E48-CB66-AB4C-A1F4-930597E9F0F3}" destId="{5D3CD510-77FB-A34D-9500-D7A729EC018C}" srcOrd="4" destOrd="0" parTransId="{81E88EE0-A7E3-3147-B2D7-07C6D1E91F5B}" sibTransId="{FEDAD0A5-A495-C340-970C-A199192AE29E}"/>
    <dgm:cxn modelId="{89682E47-2DA3-F24D-9218-A06431BC77FB}" type="presOf" srcId="{DB658E59-496A-B342-973C-75B9BA4E8D25}" destId="{4BFCE98B-BA6E-ED4D-89C6-85B6A9A95C93}" srcOrd="0" destOrd="0" presId="urn:microsoft.com/office/officeart/2005/8/layout/vList5"/>
    <dgm:cxn modelId="{3AE51049-A55F-F14F-8D3A-090FE061B149}" type="presOf" srcId="{31BBC7B6-3E72-F747-8099-A6C0CD7C6BB9}" destId="{05BBB060-F330-6B43-A462-B97451686927}" srcOrd="0" destOrd="0" presId="urn:microsoft.com/office/officeart/2005/8/layout/vList5"/>
    <dgm:cxn modelId="{0852DB67-F1DC-F343-B24A-2CC5F4904A6B}" srcId="{9B816E48-CB66-AB4C-A1F4-930597E9F0F3}" destId="{DB658E59-496A-B342-973C-75B9BA4E8D25}" srcOrd="3" destOrd="0" parTransId="{26E7B144-7D84-DD4F-A8A8-D0A1E7CD09DF}" sibTransId="{2FE665F4-1BC2-8640-B365-E46A64C3E43E}"/>
    <dgm:cxn modelId="{50A73E72-E2CA-A64A-BA52-A6ECD5FA9BFE}" type="presOf" srcId="{3C8C55C7-69BF-0E40-A4CB-BF14D77FDF05}" destId="{313023EF-A8B0-6346-A7F1-74076954E353}" srcOrd="0" destOrd="0" presId="urn:microsoft.com/office/officeart/2005/8/layout/vList5"/>
    <dgm:cxn modelId="{41030977-F987-8D43-92D5-9E1F53E2439D}" srcId="{5D3CD510-77FB-A34D-9500-D7A729EC018C}" destId="{3AA0E39E-AAC4-4547-9A38-AA8CF4EC4922}" srcOrd="0" destOrd="0" parTransId="{8299C54A-A735-9748-8C19-CE1C15018762}" sibTransId="{B427922C-7FB3-484D-B397-6FA98FF97565}"/>
    <dgm:cxn modelId="{4CFD6382-B77B-EF41-A087-9A92B720413A}" type="presOf" srcId="{EC218F87-1172-6A48-8720-63D6FF59F022}" destId="{F5C5101F-8B97-6842-BFD2-8AFFB97E8FBB}" srcOrd="0" destOrd="0" presId="urn:microsoft.com/office/officeart/2005/8/layout/vList5"/>
    <dgm:cxn modelId="{5D9FAA98-629B-9A4B-8B21-ADD490549DC3}" type="presOf" srcId="{3AA0E39E-AAC4-4547-9A38-AA8CF4EC4922}" destId="{5AD14937-7C54-3C4C-AB7E-EE9DE0917FA8}" srcOrd="0" destOrd="0" presId="urn:microsoft.com/office/officeart/2005/8/layout/vList5"/>
    <dgm:cxn modelId="{E950BF98-AB7B-FF4D-8E8F-C2DA5734FB22}" srcId="{9B816E48-CB66-AB4C-A1F4-930597E9F0F3}" destId="{6D5FB692-A7B4-E247-9BAD-F1B92477FC88}" srcOrd="1" destOrd="0" parTransId="{1C8AFBF3-26AE-784D-913A-9475C2190E6B}" sibTransId="{578C2F6B-29D2-2145-9A5D-C717280C5738}"/>
    <dgm:cxn modelId="{D60520A1-6EB3-E04E-BF8E-E257AA8F54ED}" srcId="{9B816E48-CB66-AB4C-A1F4-930597E9F0F3}" destId="{54695993-F431-0B44-A5CA-7954C33FB0E5}" srcOrd="0" destOrd="0" parTransId="{60390BA8-2E0F-DF40-B908-CE1E814FA780}" sibTransId="{2A2C49A3-DADC-6147-94D8-96F19ED79993}"/>
    <dgm:cxn modelId="{57B0ABAB-7B04-5F4D-8DE8-E841AA3F1C1A}" srcId="{54695993-F431-0B44-A5CA-7954C33FB0E5}" destId="{7FEF7526-81B3-854C-A2E2-31195292ED3A}" srcOrd="0" destOrd="0" parTransId="{B987A32C-2828-3644-94B5-78382588DC26}" sibTransId="{E22F5FBA-3BDE-634F-9441-8CE4310B8BC7}"/>
    <dgm:cxn modelId="{91D54FB6-97C8-4040-B7AC-EADA34D33F3C}" type="presOf" srcId="{54695993-F431-0B44-A5CA-7954C33FB0E5}" destId="{9D970D94-177D-6C45-8872-20E5020ECF4C}" srcOrd="0" destOrd="0" presId="urn:microsoft.com/office/officeart/2005/8/layout/vList5"/>
    <dgm:cxn modelId="{C138F6B9-4402-B049-B4E3-146F7BD9F85E}" srcId="{6D5FB692-A7B4-E247-9BAD-F1B92477FC88}" destId="{31BBC7B6-3E72-F747-8099-A6C0CD7C6BB9}" srcOrd="0" destOrd="0" parTransId="{0E5864EB-D942-3648-8976-EE8B69F1401D}" sibTransId="{FE8C2877-AA34-3541-BC41-505C9514F9D5}"/>
    <dgm:cxn modelId="{B21014CC-6980-6946-8D01-8827275F1FBB}" srcId="{9B816E48-CB66-AB4C-A1F4-930597E9F0F3}" destId="{D0847C54-EEBD-0648-9F0F-E90A19241D41}" srcOrd="2" destOrd="0" parTransId="{BB3CB749-D21A-634B-929E-B6BBEC74AD17}" sibTransId="{1842C46F-5E2D-E147-921A-0294F9BA5B4D}"/>
    <dgm:cxn modelId="{9358E6D5-7C84-6B4E-96BE-B462FC0310E6}" type="presOf" srcId="{D0847C54-EEBD-0648-9F0F-E90A19241D41}" destId="{094838A1-5AA3-2C4A-8164-8194375DF692}" srcOrd="0" destOrd="0" presId="urn:microsoft.com/office/officeart/2005/8/layout/vList5"/>
    <dgm:cxn modelId="{F3F783D6-7E4A-7646-8DF4-BB30310307FA}" srcId="{D0847C54-EEBD-0648-9F0F-E90A19241D41}" destId="{3C8C55C7-69BF-0E40-A4CB-BF14D77FDF05}" srcOrd="0" destOrd="0" parTransId="{E772C6CF-EE6E-5847-8A5F-B863661800EF}" sibTransId="{6B538817-B187-8D4B-8F5B-8547D2AAA2D8}"/>
    <dgm:cxn modelId="{55CE81FE-4635-2447-924A-91327D67B378}" type="presOf" srcId="{5D3CD510-77FB-A34D-9500-D7A729EC018C}" destId="{915E2860-6024-F24D-8082-20FFEAFF425A}" srcOrd="0" destOrd="0" presId="urn:microsoft.com/office/officeart/2005/8/layout/vList5"/>
    <dgm:cxn modelId="{96E59255-768E-4646-B66D-035F68C6337D}" type="presParOf" srcId="{2464EEE9-50DC-284B-B75E-72A5CA8AC83C}" destId="{F8EBA77A-E732-9B48-BD5B-D7C23FAB57AF}" srcOrd="0" destOrd="0" presId="urn:microsoft.com/office/officeart/2005/8/layout/vList5"/>
    <dgm:cxn modelId="{52A61D4C-59F1-614F-9743-981C09AD596D}" type="presParOf" srcId="{F8EBA77A-E732-9B48-BD5B-D7C23FAB57AF}" destId="{9D970D94-177D-6C45-8872-20E5020ECF4C}" srcOrd="0" destOrd="0" presId="urn:microsoft.com/office/officeart/2005/8/layout/vList5"/>
    <dgm:cxn modelId="{F61B823C-EEF1-3B4D-8D5E-D6C898CABB0C}" type="presParOf" srcId="{F8EBA77A-E732-9B48-BD5B-D7C23FAB57AF}" destId="{D2231199-D476-E546-ABF4-71E405B6A73D}" srcOrd="1" destOrd="0" presId="urn:microsoft.com/office/officeart/2005/8/layout/vList5"/>
    <dgm:cxn modelId="{29A71BC8-D6F4-5944-A92E-9F2D8CD8153C}" type="presParOf" srcId="{2464EEE9-50DC-284B-B75E-72A5CA8AC83C}" destId="{1910E102-4129-364C-96DE-15C223C3C97D}" srcOrd="1" destOrd="0" presId="urn:microsoft.com/office/officeart/2005/8/layout/vList5"/>
    <dgm:cxn modelId="{4CEC1BD2-83C1-8D4E-9F78-77E403872250}" type="presParOf" srcId="{2464EEE9-50DC-284B-B75E-72A5CA8AC83C}" destId="{F0250445-96C9-9E47-8A18-EC19A4D04F71}" srcOrd="2" destOrd="0" presId="urn:microsoft.com/office/officeart/2005/8/layout/vList5"/>
    <dgm:cxn modelId="{48AB6887-57AE-8549-9D75-1F3C46854F58}" type="presParOf" srcId="{F0250445-96C9-9E47-8A18-EC19A4D04F71}" destId="{95C6E72A-4E50-D641-B092-8F1F00E9DC8B}" srcOrd="0" destOrd="0" presId="urn:microsoft.com/office/officeart/2005/8/layout/vList5"/>
    <dgm:cxn modelId="{B9CD27C8-9C31-F647-8065-F1119DC68FB4}" type="presParOf" srcId="{F0250445-96C9-9E47-8A18-EC19A4D04F71}" destId="{05BBB060-F330-6B43-A462-B97451686927}" srcOrd="1" destOrd="0" presId="urn:microsoft.com/office/officeart/2005/8/layout/vList5"/>
    <dgm:cxn modelId="{0AB3D8B6-E5D4-004E-8ADF-C83D33EB066E}" type="presParOf" srcId="{2464EEE9-50DC-284B-B75E-72A5CA8AC83C}" destId="{3714DE7B-9CEF-3147-9974-A71C758EDA5A}" srcOrd="3" destOrd="0" presId="urn:microsoft.com/office/officeart/2005/8/layout/vList5"/>
    <dgm:cxn modelId="{CAE5853C-BB9F-D241-94B5-F36FACB6C183}" type="presParOf" srcId="{2464EEE9-50DC-284B-B75E-72A5CA8AC83C}" destId="{9886935A-27DB-394A-B4D6-EE0ADEFCBBAD}" srcOrd="4" destOrd="0" presId="urn:microsoft.com/office/officeart/2005/8/layout/vList5"/>
    <dgm:cxn modelId="{5AEB429B-DF1A-064E-9649-BF84A3A5896D}" type="presParOf" srcId="{9886935A-27DB-394A-B4D6-EE0ADEFCBBAD}" destId="{094838A1-5AA3-2C4A-8164-8194375DF692}" srcOrd="0" destOrd="0" presId="urn:microsoft.com/office/officeart/2005/8/layout/vList5"/>
    <dgm:cxn modelId="{2F135ADC-858E-7D44-AEE0-E2794EF30E50}" type="presParOf" srcId="{9886935A-27DB-394A-B4D6-EE0ADEFCBBAD}" destId="{313023EF-A8B0-6346-A7F1-74076954E353}" srcOrd="1" destOrd="0" presId="urn:microsoft.com/office/officeart/2005/8/layout/vList5"/>
    <dgm:cxn modelId="{5FA319A6-130F-A248-AB81-8F2C6ADA83DA}" type="presParOf" srcId="{2464EEE9-50DC-284B-B75E-72A5CA8AC83C}" destId="{558FAE64-8ED9-D042-AB5D-81265C5CADEA}" srcOrd="5" destOrd="0" presId="urn:microsoft.com/office/officeart/2005/8/layout/vList5"/>
    <dgm:cxn modelId="{4820F12E-9107-E048-B82F-1E5CF0992FCE}" type="presParOf" srcId="{2464EEE9-50DC-284B-B75E-72A5CA8AC83C}" destId="{96F43294-81D7-CB47-B6DD-FEEAC4606566}" srcOrd="6" destOrd="0" presId="urn:microsoft.com/office/officeart/2005/8/layout/vList5"/>
    <dgm:cxn modelId="{8E5E0188-BB6A-3347-AFA2-66C5D46D9002}" type="presParOf" srcId="{96F43294-81D7-CB47-B6DD-FEEAC4606566}" destId="{4BFCE98B-BA6E-ED4D-89C6-85B6A9A95C93}" srcOrd="0" destOrd="0" presId="urn:microsoft.com/office/officeart/2005/8/layout/vList5"/>
    <dgm:cxn modelId="{9F43F496-0363-4042-B4D8-A3B6D3F1F081}" type="presParOf" srcId="{96F43294-81D7-CB47-B6DD-FEEAC4606566}" destId="{F5C5101F-8B97-6842-BFD2-8AFFB97E8FBB}" srcOrd="1" destOrd="0" presId="urn:microsoft.com/office/officeart/2005/8/layout/vList5"/>
    <dgm:cxn modelId="{83FE0C21-2827-354F-91B8-325B593EF313}" type="presParOf" srcId="{2464EEE9-50DC-284B-B75E-72A5CA8AC83C}" destId="{0D39E14F-0083-FF49-955D-016D925172C3}" srcOrd="7" destOrd="0" presId="urn:microsoft.com/office/officeart/2005/8/layout/vList5"/>
    <dgm:cxn modelId="{8454D7F8-4C4F-824C-9BF6-3811DE082FBC}" type="presParOf" srcId="{2464EEE9-50DC-284B-B75E-72A5CA8AC83C}" destId="{3FE5B2A8-CE31-0849-88EE-DA53EA3DA7BA}" srcOrd="8" destOrd="0" presId="urn:microsoft.com/office/officeart/2005/8/layout/vList5"/>
    <dgm:cxn modelId="{87482450-A5F3-7147-8D18-BEBF68064DA5}" type="presParOf" srcId="{3FE5B2A8-CE31-0849-88EE-DA53EA3DA7BA}" destId="{915E2860-6024-F24D-8082-20FFEAFF425A}" srcOrd="0" destOrd="0" presId="urn:microsoft.com/office/officeart/2005/8/layout/vList5"/>
    <dgm:cxn modelId="{14531FCB-5BD3-EF48-973D-C58DC4C92E40}" type="presParOf" srcId="{3FE5B2A8-CE31-0849-88EE-DA53EA3DA7BA}" destId="{5AD14937-7C54-3C4C-AB7E-EE9DE0917FA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231199-D476-E546-ABF4-71E405B6A73D}">
      <dsp:nvSpPr>
        <dsp:cNvPr id="0" name=""/>
        <dsp:cNvSpPr/>
      </dsp:nvSpPr>
      <dsp:spPr>
        <a:xfrm rot="5400000">
          <a:off x="4999692" y="-2090230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Sebuah table yang terdiri dari beberapa kolom dan beberapa baris</a:t>
          </a:r>
          <a:endParaRPr lang="en-ID" sz="1900" kern="1200"/>
        </a:p>
      </dsp:txBody>
      <dsp:txXfrm rot="-5400000">
        <a:off x="2823944" y="118168"/>
        <a:ext cx="4987694" cy="603548"/>
      </dsp:txXfrm>
    </dsp:sp>
    <dsp:sp modelId="{9D970D94-177D-6C45-8872-20E5020ECF4C}">
      <dsp:nvSpPr>
        <dsp:cNvPr id="0" name=""/>
        <dsp:cNvSpPr/>
      </dsp:nvSpPr>
      <dsp:spPr>
        <a:xfrm>
          <a:off x="0" y="1912"/>
          <a:ext cx="2823944" cy="83606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Relasi</a:t>
          </a:r>
          <a:endParaRPr lang="en-ID" sz="3700" kern="1200"/>
        </a:p>
      </dsp:txBody>
      <dsp:txXfrm>
        <a:off x="40813" y="42725"/>
        <a:ext cx="2742318" cy="754434"/>
      </dsp:txXfrm>
    </dsp:sp>
    <dsp:sp modelId="{05BBB060-F330-6B43-A462-B97451686927}">
      <dsp:nvSpPr>
        <dsp:cNvPr id="0" name=""/>
        <dsp:cNvSpPr/>
      </dsp:nvSpPr>
      <dsp:spPr>
        <a:xfrm rot="5400000">
          <a:off x="4999692" y="-1212366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3223432"/>
            <a:satOff val="5960"/>
            <a:lumOff val="42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3223432"/>
              <a:satOff val="5960"/>
              <a:lumOff val="42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Kolom pada sebuah relasi</a:t>
          </a:r>
          <a:endParaRPr lang="en-ID" sz="1900" kern="1200"/>
        </a:p>
      </dsp:txBody>
      <dsp:txXfrm rot="-5400000">
        <a:off x="2823944" y="996032"/>
        <a:ext cx="4987694" cy="603548"/>
      </dsp:txXfrm>
    </dsp:sp>
    <dsp:sp modelId="{95C6E72A-4E50-D641-B092-8F1F00E9DC8B}">
      <dsp:nvSpPr>
        <dsp:cNvPr id="0" name=""/>
        <dsp:cNvSpPr/>
      </dsp:nvSpPr>
      <dsp:spPr>
        <a:xfrm>
          <a:off x="0" y="879775"/>
          <a:ext cx="2823944" cy="836060"/>
        </a:xfrm>
        <a:prstGeom prst="roundRect">
          <a:avLst/>
        </a:prstGeom>
        <a:solidFill>
          <a:schemeClr val="accent4">
            <a:hueOff val="3107572"/>
            <a:satOff val="11725"/>
            <a:lumOff val="1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Atribut</a:t>
          </a:r>
          <a:endParaRPr lang="en-ID" sz="3700" kern="1200"/>
        </a:p>
      </dsp:txBody>
      <dsp:txXfrm>
        <a:off x="40813" y="920588"/>
        <a:ext cx="2742318" cy="754434"/>
      </dsp:txXfrm>
    </dsp:sp>
    <dsp:sp modelId="{313023EF-A8B0-6346-A7F1-74076954E353}">
      <dsp:nvSpPr>
        <dsp:cNvPr id="0" name=""/>
        <dsp:cNvSpPr/>
      </dsp:nvSpPr>
      <dsp:spPr>
        <a:xfrm rot="5400000">
          <a:off x="4999692" y="-334503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6446863"/>
            <a:satOff val="11920"/>
            <a:lumOff val="84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6446863"/>
              <a:satOff val="11920"/>
              <a:lumOff val="8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Jumlah atribut dalam sebuah relasi</a:t>
          </a:r>
          <a:endParaRPr lang="en-ID" sz="1900" kern="1200"/>
        </a:p>
      </dsp:txBody>
      <dsp:txXfrm rot="-5400000">
        <a:off x="2823944" y="1873895"/>
        <a:ext cx="4987694" cy="603548"/>
      </dsp:txXfrm>
    </dsp:sp>
    <dsp:sp modelId="{094838A1-5AA3-2C4A-8164-8194375DF692}">
      <dsp:nvSpPr>
        <dsp:cNvPr id="0" name=""/>
        <dsp:cNvSpPr/>
      </dsp:nvSpPr>
      <dsp:spPr>
        <a:xfrm>
          <a:off x="0" y="1757638"/>
          <a:ext cx="2823944" cy="836060"/>
        </a:xfrm>
        <a:prstGeom prst="roundRect">
          <a:avLst/>
        </a:prstGeom>
        <a:solidFill>
          <a:schemeClr val="accent4">
            <a:hueOff val="6215143"/>
            <a:satOff val="23450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Derajat</a:t>
          </a:r>
          <a:endParaRPr lang="en-ID" sz="3700" kern="1200"/>
        </a:p>
      </dsp:txBody>
      <dsp:txXfrm>
        <a:off x="40813" y="1798451"/>
        <a:ext cx="2742318" cy="754434"/>
      </dsp:txXfrm>
    </dsp:sp>
    <dsp:sp modelId="{F5C5101F-8B97-6842-BFD2-8AFFB97E8FBB}">
      <dsp:nvSpPr>
        <dsp:cNvPr id="0" name=""/>
        <dsp:cNvSpPr/>
      </dsp:nvSpPr>
      <dsp:spPr>
        <a:xfrm rot="5400000">
          <a:off x="4999692" y="543359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9670295"/>
            <a:satOff val="17880"/>
            <a:lumOff val="126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9670295"/>
              <a:satOff val="17880"/>
              <a:lumOff val="126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Baris pada sebuah relasi</a:t>
          </a:r>
          <a:endParaRPr lang="en-ID" sz="1900" kern="1200"/>
        </a:p>
      </dsp:txBody>
      <dsp:txXfrm rot="-5400000">
        <a:off x="2823944" y="2751757"/>
        <a:ext cx="4987694" cy="603548"/>
      </dsp:txXfrm>
    </dsp:sp>
    <dsp:sp modelId="{4BFCE98B-BA6E-ED4D-89C6-85B6A9A95C93}">
      <dsp:nvSpPr>
        <dsp:cNvPr id="0" name=""/>
        <dsp:cNvSpPr/>
      </dsp:nvSpPr>
      <dsp:spPr>
        <a:xfrm>
          <a:off x="0" y="2635502"/>
          <a:ext cx="2823944" cy="836060"/>
        </a:xfrm>
        <a:prstGeom prst="roundRect">
          <a:avLst/>
        </a:prstGeom>
        <a:solidFill>
          <a:schemeClr val="accent4">
            <a:hueOff val="9322715"/>
            <a:satOff val="35176"/>
            <a:lumOff val="3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Tupel</a:t>
          </a:r>
          <a:endParaRPr lang="en-ID" sz="3700" kern="1200"/>
        </a:p>
      </dsp:txBody>
      <dsp:txXfrm>
        <a:off x="40813" y="2676315"/>
        <a:ext cx="2742318" cy="754434"/>
      </dsp:txXfrm>
    </dsp:sp>
    <dsp:sp modelId="{5AD14937-7C54-3C4C-AB7E-EE9DE0917FA8}">
      <dsp:nvSpPr>
        <dsp:cNvPr id="0" name=""/>
        <dsp:cNvSpPr/>
      </dsp:nvSpPr>
      <dsp:spPr>
        <a:xfrm rot="5400000">
          <a:off x="4999692" y="1421223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12893727"/>
            <a:satOff val="23840"/>
            <a:lumOff val="168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2893727"/>
              <a:satOff val="23840"/>
              <a:lumOff val="16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Jumlah tupel dalam sebuah relasi</a:t>
          </a:r>
          <a:endParaRPr lang="en-ID" sz="1900" kern="1200"/>
        </a:p>
      </dsp:txBody>
      <dsp:txXfrm rot="-5400000">
        <a:off x="2823944" y="3629621"/>
        <a:ext cx="4987694" cy="603548"/>
      </dsp:txXfrm>
    </dsp:sp>
    <dsp:sp modelId="{915E2860-6024-F24D-8082-20FFEAFF425A}">
      <dsp:nvSpPr>
        <dsp:cNvPr id="0" name=""/>
        <dsp:cNvSpPr/>
      </dsp:nvSpPr>
      <dsp:spPr>
        <a:xfrm>
          <a:off x="0" y="3513365"/>
          <a:ext cx="2823944" cy="836060"/>
        </a:xfrm>
        <a:prstGeom prst="roundRect">
          <a:avLst/>
        </a:prstGeom>
        <a:solidFill>
          <a:schemeClr val="accent4">
            <a:hueOff val="12430287"/>
            <a:satOff val="46901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Kardinalitas</a:t>
          </a:r>
          <a:endParaRPr lang="en-ID" sz="3700" kern="1200"/>
        </a:p>
      </dsp:txBody>
      <dsp:txXfrm>
        <a:off x="40813" y="3554178"/>
        <a:ext cx="2742318" cy="7544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243D74-B9C1-450A-B0F3-6C6DCB0CF2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C27C33-9BB1-41D5-A236-12767E7E72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AB3EA8-A58D-4C92-A3AB-D271CCC294C7}" type="datetimeFigureOut">
              <a:rPr lang="en-US" smtClean="0"/>
              <a:t>2/19/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7EADB-04A4-4093-B238-438E2C7317A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DD8696-706D-440E-AE04-4C644F0613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A5DE8-F2C4-4DB3-88D1-656DCD59E7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24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FB4FA-E877-413E-B608-88789D806C57}" type="datetimeFigureOut">
              <a:rPr lang="en-US" noProof="0" smtClean="0"/>
              <a:t>2/19/24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6304E-FDE3-4B4F-A3B7-EBE87F3FA5E2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5138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795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98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078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6304E-FDE3-4B4F-A3B7-EBE87F3FA5E2}" type="slidenum">
              <a:rPr lang="en-US" noProof="0" smtClean="0"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5719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6304E-FDE3-4B4F-A3B7-EBE87F3FA5E2}" type="slidenum">
              <a:rPr lang="en-US" noProof="0" smtClean="0"/>
              <a:t>2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3903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logo of a building">
            <a:extLst>
              <a:ext uri="{FF2B5EF4-FFF2-40B4-BE49-F238E27FC236}">
                <a16:creationId xmlns:a16="http://schemas.microsoft.com/office/drawing/2014/main" id="{8F7DFF3C-C9AF-B53A-26E9-43E171969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9092" y="1789527"/>
            <a:ext cx="4371928" cy="32789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AD79A9-0B43-AF2D-D31E-3613190A7E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10365" y="-38195"/>
            <a:ext cx="2581635" cy="762106"/>
          </a:xfrm>
          <a:prstGeom prst="rect">
            <a:avLst/>
          </a:prstGeom>
        </p:spPr>
      </p:pic>
      <p:pic>
        <p:nvPicPr>
          <p:cNvPr id="17" name="Picture 1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12C3D531-41C9-2BCD-1110-7D282E4115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96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2130" y="4484691"/>
            <a:ext cx="4540440" cy="503167"/>
          </a:xfrm>
        </p:spPr>
        <p:txBody>
          <a:bodyPr>
            <a:noAutofit/>
          </a:bodyPr>
          <a:lstStyle>
            <a:lvl1pPr marL="0" indent="0" algn="l">
              <a:buNone/>
              <a:defRPr sz="16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emai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0FBE0E-A6B0-483E-93DD-5C20DA069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2320" y="5012635"/>
            <a:ext cx="4533900" cy="50323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600" b="0" cap="all" baseline="0" dirty="0" smtClean="0"/>
            </a:lvl1pPr>
          </a:lstStyle>
          <a:p>
            <a:pPr marL="228600" lvl="0" indent="-228600"/>
            <a:r>
              <a:rPr lang="en-US" noProof="0" dirty="0"/>
              <a:t>Website </a:t>
            </a:r>
            <a:r>
              <a:rPr lang="en-US" noProof="0" dirty="0" err="1"/>
              <a:t>url</a:t>
            </a:r>
            <a:r>
              <a:rPr lang="en-US" noProof="0" dirty="0"/>
              <a:t> here</a:t>
            </a:r>
          </a:p>
        </p:txBody>
      </p:sp>
      <p:pic>
        <p:nvPicPr>
          <p:cNvPr id="17" name="Graphic 16" descr="Envelope">
            <a:extLst>
              <a:ext uri="{FF2B5EF4-FFF2-40B4-BE49-F238E27FC236}">
                <a16:creationId xmlns:a16="http://schemas.microsoft.com/office/drawing/2014/main" id="{E5B30B87-6C2E-48F1-9026-E4F6BEA1C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1475" y="4452337"/>
            <a:ext cx="387795" cy="387795"/>
          </a:xfrm>
          <a:prstGeom prst="rect">
            <a:avLst/>
          </a:prstGeom>
        </p:spPr>
      </p:pic>
      <p:pic>
        <p:nvPicPr>
          <p:cNvPr id="18" name="Graphic 17" descr="Network">
            <a:extLst>
              <a:ext uri="{FF2B5EF4-FFF2-40B4-BE49-F238E27FC236}">
                <a16:creationId xmlns:a16="http://schemas.microsoft.com/office/drawing/2014/main" id="{2DA3CFE0-4ED8-4345-A158-94E70F463E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2084" y="4925640"/>
            <a:ext cx="426575" cy="4265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E9908F-CF81-43F9-880A-401D0C0FB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429000"/>
            <a:ext cx="5011410" cy="651448"/>
          </a:xfrm>
          <a:noFill/>
        </p:spPr>
        <p:txBody>
          <a:bodyPr wrap="square" rtlCol="0">
            <a:noAutofit/>
          </a:bodyPr>
          <a:lstStyle>
            <a:lvl1pPr>
              <a:defRPr lang="en-US" sz="6000" b="1" cap="all" baseline="0">
                <a:solidFill>
                  <a:schemeClr val="accent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4" name="Picture 3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E8678706-9AD9-CA42-AFDD-2C44E57955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43D6BFB0-1441-4F83-87FA-56B6FA45191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36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7C312F4-62C2-4903-8C4B-423A8717E481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Envelope">
            <a:extLst>
              <a:ext uri="{FF2B5EF4-FFF2-40B4-BE49-F238E27FC236}">
                <a16:creationId xmlns:a16="http://schemas.microsoft.com/office/drawing/2014/main" id="{A686352B-226C-4579-B831-0DC14EC389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475" y="4452337"/>
            <a:ext cx="387795" cy="387795"/>
          </a:xfrm>
          <a:prstGeom prst="rect">
            <a:avLst/>
          </a:prstGeom>
        </p:spPr>
      </p:pic>
      <p:pic>
        <p:nvPicPr>
          <p:cNvPr id="20" name="Graphic 19" descr="Network">
            <a:extLst>
              <a:ext uri="{FF2B5EF4-FFF2-40B4-BE49-F238E27FC236}">
                <a16:creationId xmlns:a16="http://schemas.microsoft.com/office/drawing/2014/main" id="{460C8169-012B-451A-A6C2-6FEC0DC82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2084" y="4925640"/>
            <a:ext cx="426575" cy="426575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ADF17BC1-06CE-42EA-A970-31A7ED871A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2130" y="4484691"/>
            <a:ext cx="4540440" cy="503167"/>
          </a:xfrm>
        </p:spPr>
        <p:txBody>
          <a:bodyPr>
            <a:noAutofit/>
          </a:bodyPr>
          <a:lstStyle>
            <a:lvl1pPr marL="0" indent="0" algn="l">
              <a:buNone/>
              <a:defRPr sz="16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emai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035F1B3-4E91-44FF-B4E7-E5D87C7A03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2320" y="5012635"/>
            <a:ext cx="4533900" cy="50323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600" b="0" cap="all" baseline="0" dirty="0" smtClean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 noProof="0" dirty="0"/>
              <a:t>Website </a:t>
            </a:r>
            <a:r>
              <a:rPr lang="en-US" noProof="0" dirty="0" err="1"/>
              <a:t>url</a:t>
            </a:r>
            <a:r>
              <a:rPr lang="en-US" noProof="0" dirty="0"/>
              <a:t> he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5B5135-F466-4A63-A42C-3BB2BAA7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158641"/>
            <a:ext cx="5011410" cy="921807"/>
          </a:xfrm>
          <a:noFill/>
        </p:spPr>
        <p:txBody>
          <a:bodyPr wrap="square" rtlCol="0">
            <a:noAutofit/>
          </a:bodyPr>
          <a:lstStyle>
            <a:lvl1pPr>
              <a:defRPr lang="en-US" sz="6000" b="1" cap="all" baseline="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45043B-F754-8C74-EA75-6CCC339F9C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69270" y="347492"/>
            <a:ext cx="2581635" cy="762106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F1BEC3BE-7620-B186-7317-565F0F2859E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88481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0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33">
          <p15:clr>
            <a:srgbClr val="FBAE40"/>
          </p15:clr>
        </p15:guide>
        <p15:guide id="4" pos="36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F54E98B-AC75-484D-9121-68498EB888AA}"/>
              </a:ext>
            </a:extLst>
          </p:cNvPr>
          <p:cNvSpPr/>
          <p:nvPr userDrawn="1"/>
        </p:nvSpPr>
        <p:spPr>
          <a:xfrm>
            <a:off x="754010" y="708293"/>
            <a:ext cx="5334029" cy="5334029"/>
          </a:xfrm>
          <a:prstGeom prst="ellipse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3FFC2B2-A82E-7CF5-D735-461538B2D7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0365" y="0"/>
            <a:ext cx="2581635" cy="762106"/>
          </a:xfrm>
          <a:prstGeom prst="rect">
            <a:avLst/>
          </a:prstGeom>
        </p:spPr>
      </p:pic>
      <p:pic>
        <p:nvPicPr>
          <p:cNvPr id="8" name="Picture 7" descr="A logo of a building">
            <a:extLst>
              <a:ext uri="{FF2B5EF4-FFF2-40B4-BE49-F238E27FC236}">
                <a16:creationId xmlns:a16="http://schemas.microsoft.com/office/drawing/2014/main" id="{DF052699-F943-B7A2-F72D-7DE9EF1BB8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9454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57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33">
          <p15:clr>
            <a:srgbClr val="FBAE40"/>
          </p15:clr>
        </p15:guide>
        <p15:guide id="4" pos="3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087E09-D75F-4E26-B01E-A1A09BA2EA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7A70B7-7ADE-4E0B-B956-363B0B1A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2563"/>
            <a:ext cx="10515600" cy="940181"/>
          </a:xfrm>
        </p:spPr>
        <p:txBody>
          <a:bodyPr anchor="b">
            <a:noAutofit/>
          </a:bodyPr>
          <a:lstStyle>
            <a:lvl1pPr algn="ctr"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FC40B0-ED27-47E5-A3C2-32A8418567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638" y="6260507"/>
            <a:ext cx="1075427" cy="41492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8931D2A9-0B92-4197-8802-80424C14EA7E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3B74B0-30B9-45C2-9AE6-45D1978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rgbClr val="2C567A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5251EA-F450-4DD1-995B-DC89513424C8}"/>
              </a:ext>
            </a:extLst>
          </p:cNvPr>
          <p:cNvGrpSpPr/>
          <p:nvPr userDrawn="1"/>
        </p:nvGrpSpPr>
        <p:grpSpPr>
          <a:xfrm rot="16200000">
            <a:off x="1637386" y="1473117"/>
            <a:ext cx="8917229" cy="10769768"/>
            <a:chOff x="-1728305" y="-2049517"/>
            <a:chExt cx="8917229" cy="1076976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4882F4E-E8C8-46FE-A9C8-7B79782767F6}"/>
                </a:ext>
              </a:extLst>
            </p:cNvPr>
            <p:cNvSpPr/>
            <p:nvPr userDrawn="1"/>
          </p:nvSpPr>
          <p:spPr>
            <a:xfrm>
              <a:off x="754010" y="708293"/>
              <a:ext cx="5334029" cy="5334029"/>
            </a:xfrm>
            <a:prstGeom prst="ellipse">
              <a:avLst/>
            </a:prstGeom>
            <a:solidFill>
              <a:schemeClr val="bg1"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65CD13B-04FB-40D5-AF62-2F43CF49BA9B}"/>
                </a:ext>
              </a:extLst>
            </p:cNvPr>
            <p:cNvGrpSpPr/>
            <p:nvPr userDrawn="1"/>
          </p:nvGrpSpPr>
          <p:grpSpPr>
            <a:xfrm>
              <a:off x="-1728305" y="-2049517"/>
              <a:ext cx="8917229" cy="10769768"/>
              <a:chOff x="11114088" y="2241550"/>
              <a:chExt cx="1905000" cy="2354263"/>
            </a:xfrm>
            <a:solidFill>
              <a:schemeClr val="bg1">
                <a:alpha val="16000"/>
              </a:schemeClr>
            </a:solidFill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01876F8F-C11E-4FB2-8150-1F0602752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4088" y="2241550"/>
                <a:ext cx="1905000" cy="2354263"/>
              </a:xfrm>
              <a:custGeom>
                <a:avLst/>
                <a:gdLst>
                  <a:gd name="T0" fmla="*/ 0 w 447"/>
                  <a:gd name="T1" fmla="*/ 264 h 553"/>
                  <a:gd name="T2" fmla="*/ 141 w 447"/>
                  <a:gd name="T3" fmla="*/ 48 h 553"/>
                  <a:gd name="T4" fmla="*/ 414 w 447"/>
                  <a:gd name="T5" fmla="*/ 67 h 553"/>
                  <a:gd name="T6" fmla="*/ 438 w 447"/>
                  <a:gd name="T7" fmla="*/ 98 h 553"/>
                  <a:gd name="T8" fmla="*/ 391 w 447"/>
                  <a:gd name="T9" fmla="*/ 111 h 553"/>
                  <a:gd name="T10" fmla="*/ 94 w 447"/>
                  <a:gd name="T11" fmla="*/ 149 h 553"/>
                  <a:gd name="T12" fmla="*/ 107 w 447"/>
                  <a:gd name="T13" fmla="*/ 424 h 553"/>
                  <a:gd name="T14" fmla="*/ 383 w 447"/>
                  <a:gd name="T15" fmla="*/ 453 h 553"/>
                  <a:gd name="T16" fmla="*/ 393 w 447"/>
                  <a:gd name="T17" fmla="*/ 446 h 553"/>
                  <a:gd name="T18" fmla="*/ 433 w 447"/>
                  <a:gd name="T19" fmla="*/ 449 h 553"/>
                  <a:gd name="T20" fmla="*/ 421 w 447"/>
                  <a:gd name="T21" fmla="*/ 485 h 553"/>
                  <a:gd name="T22" fmla="*/ 194 w 447"/>
                  <a:gd name="T23" fmla="*/ 531 h 553"/>
                  <a:gd name="T24" fmla="*/ 0 w 447"/>
                  <a:gd name="T25" fmla="*/ 264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" h="553">
                    <a:moveTo>
                      <a:pt x="0" y="264"/>
                    </a:moveTo>
                    <a:cubicBezTo>
                      <a:pt x="5" y="176"/>
                      <a:pt x="49" y="96"/>
                      <a:pt x="141" y="48"/>
                    </a:cubicBezTo>
                    <a:cubicBezTo>
                      <a:pt x="235" y="0"/>
                      <a:pt x="327" y="9"/>
                      <a:pt x="414" y="67"/>
                    </a:cubicBezTo>
                    <a:cubicBezTo>
                      <a:pt x="425" y="75"/>
                      <a:pt x="439" y="82"/>
                      <a:pt x="438" y="98"/>
                    </a:cubicBezTo>
                    <a:cubicBezTo>
                      <a:pt x="437" y="120"/>
                      <a:pt x="413" y="127"/>
                      <a:pt x="391" y="111"/>
                    </a:cubicBezTo>
                    <a:cubicBezTo>
                      <a:pt x="294" y="40"/>
                      <a:pt x="166" y="56"/>
                      <a:pt x="94" y="149"/>
                    </a:cubicBezTo>
                    <a:cubicBezTo>
                      <a:pt x="30" y="231"/>
                      <a:pt x="36" y="349"/>
                      <a:pt x="107" y="424"/>
                    </a:cubicBezTo>
                    <a:cubicBezTo>
                      <a:pt x="180" y="502"/>
                      <a:pt x="296" y="514"/>
                      <a:pt x="383" y="453"/>
                    </a:cubicBezTo>
                    <a:cubicBezTo>
                      <a:pt x="386" y="451"/>
                      <a:pt x="390" y="449"/>
                      <a:pt x="393" y="446"/>
                    </a:cubicBezTo>
                    <a:cubicBezTo>
                      <a:pt x="407" y="433"/>
                      <a:pt x="420" y="433"/>
                      <a:pt x="433" y="449"/>
                    </a:cubicBezTo>
                    <a:cubicBezTo>
                      <a:pt x="447" y="467"/>
                      <a:pt x="433" y="477"/>
                      <a:pt x="421" y="485"/>
                    </a:cubicBezTo>
                    <a:cubicBezTo>
                      <a:pt x="353" y="537"/>
                      <a:pt x="277" y="553"/>
                      <a:pt x="194" y="531"/>
                    </a:cubicBezTo>
                    <a:cubicBezTo>
                      <a:pt x="79" y="501"/>
                      <a:pt x="1" y="397"/>
                      <a:pt x="0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08A1D05F-5F61-4156-8C83-1A002AA1E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2538" y="2590800"/>
                <a:ext cx="835025" cy="1673225"/>
              </a:xfrm>
              <a:custGeom>
                <a:avLst/>
                <a:gdLst>
                  <a:gd name="T0" fmla="*/ 0 w 196"/>
                  <a:gd name="T1" fmla="*/ 198 h 393"/>
                  <a:gd name="T2" fmla="*/ 157 w 196"/>
                  <a:gd name="T3" fmla="*/ 8 h 393"/>
                  <a:gd name="T4" fmla="*/ 192 w 196"/>
                  <a:gd name="T5" fmla="*/ 22 h 393"/>
                  <a:gd name="T6" fmla="*/ 167 w 196"/>
                  <a:gd name="T7" fmla="*/ 56 h 393"/>
                  <a:gd name="T8" fmla="*/ 48 w 196"/>
                  <a:gd name="T9" fmla="*/ 198 h 393"/>
                  <a:gd name="T10" fmla="*/ 170 w 196"/>
                  <a:gd name="T11" fmla="*/ 339 h 393"/>
                  <a:gd name="T12" fmla="*/ 193 w 196"/>
                  <a:gd name="T13" fmla="*/ 372 h 393"/>
                  <a:gd name="T14" fmla="*/ 160 w 196"/>
                  <a:gd name="T15" fmla="*/ 387 h 393"/>
                  <a:gd name="T16" fmla="*/ 0 w 196"/>
                  <a:gd name="T17" fmla="*/ 198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6" h="393">
                    <a:moveTo>
                      <a:pt x="0" y="198"/>
                    </a:moveTo>
                    <a:cubicBezTo>
                      <a:pt x="0" y="103"/>
                      <a:pt x="64" y="26"/>
                      <a:pt x="157" y="8"/>
                    </a:cubicBezTo>
                    <a:cubicBezTo>
                      <a:pt x="171" y="6"/>
                      <a:pt x="188" y="0"/>
                      <a:pt x="192" y="22"/>
                    </a:cubicBezTo>
                    <a:cubicBezTo>
                      <a:pt x="196" y="41"/>
                      <a:pt x="190" y="52"/>
                      <a:pt x="167" y="56"/>
                    </a:cubicBezTo>
                    <a:cubicBezTo>
                      <a:pt x="95" y="70"/>
                      <a:pt x="47" y="129"/>
                      <a:pt x="48" y="198"/>
                    </a:cubicBezTo>
                    <a:cubicBezTo>
                      <a:pt x="48" y="267"/>
                      <a:pt x="97" y="325"/>
                      <a:pt x="170" y="339"/>
                    </a:cubicBezTo>
                    <a:cubicBezTo>
                      <a:pt x="191" y="343"/>
                      <a:pt x="195" y="354"/>
                      <a:pt x="193" y="372"/>
                    </a:cubicBezTo>
                    <a:cubicBezTo>
                      <a:pt x="190" y="393"/>
                      <a:pt x="174" y="389"/>
                      <a:pt x="160" y="387"/>
                    </a:cubicBezTo>
                    <a:cubicBezTo>
                      <a:pt x="70" y="375"/>
                      <a:pt x="0" y="293"/>
                      <a:pt x="0" y="1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D77C47B-CC1E-41DA-9146-5DFD630654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153348"/>
            <a:ext cx="10515600" cy="64854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" name="Picture 2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349B4B5C-6141-25BC-0001-BF45BE445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5" name="Picture 4" descr="A logo of a building">
            <a:extLst>
              <a:ext uri="{FF2B5EF4-FFF2-40B4-BE49-F238E27FC236}">
                <a16:creationId xmlns:a16="http://schemas.microsoft.com/office/drawing/2014/main" id="{852F63DC-B283-24E2-F7A8-0BB2419E156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544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60E0B501-22AA-4685-BE9B-A267F6F675A7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D0E179E-CA3D-4874-9ACD-F8990F48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9C53936-B93A-4CF6-8766-2FA93ACFE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5776DEA2-5422-4F51-B359-652B71274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A1F33A2-66F7-4D85-99DD-7B00F265A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825625"/>
            <a:ext cx="10837862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2DFD46-BF74-47BA-A496-92ED1979C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EF788279-D710-447A-9E71-4D1344575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68245CB7-4ABC-F8E2-A9D0-89224569D3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E0AE3B57-08C4-E599-82E7-9A5920559E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758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2A6B906-ACDA-40FD-8AC8-0B693AB12796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7F7366-5A99-4065-90C2-AE7DF5DD0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90A089CA-63B9-4456-B0B1-17C75EBFB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8D36B2D1-BCFE-43FC-8743-7B7A30E1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79DA8F4-EDD3-4D62-A90B-8C3C1AFB0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8" y="1825625"/>
            <a:ext cx="5503862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A0DA994-B4A9-447A-BEBF-3EA31D3755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2150F9-14BF-4DCB-884D-49596914C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19DEF115-82C2-4E9D-A22C-8DA561FB3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54CA5D8F-3F42-4B98-4D03-E717D2952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7D4CBE6A-BB52-4BE8-54B7-B03ED39581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34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616F52B4-215E-4237-893C-E22B23804744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7C40C77-B795-4B07-B92D-2E8A56635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E703A1E-5F10-4BB5-9D52-77CB6F599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22CEE04C-09CE-41CF-937D-EC2D3C23E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74CF4BA-8DCB-42CF-A2C4-D6AF95EE3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7BA8B6E-A28D-4658-8C91-6CA7BD539B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5938" y="2505075"/>
            <a:ext cx="5157787" cy="36845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73B3215-82DB-4DBF-9E77-3AE2308C69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8DFD34E8-36CC-4FFE-926B-C170208FED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3383C6B-3BE4-4380-AF26-1C21492FC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E3770E9-CB74-47B0-8229-91F6F7560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39154AD4-335C-07A6-111F-2658E6713C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3254C133-6D05-9864-B2D2-53AD594116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7946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C57825D7-DD33-4B70-BBBE-D46E7A5352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768485"/>
            <a:ext cx="5305662" cy="5305662"/>
          </a:xfrm>
          <a:custGeom>
            <a:avLst/>
            <a:gdLst>
              <a:gd name="connsiteX0" fmla="*/ 2652831 w 5305662"/>
              <a:gd name="connsiteY0" fmla="*/ 0 h 5305662"/>
              <a:gd name="connsiteX1" fmla="*/ 5305662 w 5305662"/>
              <a:gd name="connsiteY1" fmla="*/ 2652831 h 5305662"/>
              <a:gd name="connsiteX2" fmla="*/ 2652831 w 5305662"/>
              <a:gd name="connsiteY2" fmla="*/ 5305662 h 5305662"/>
              <a:gd name="connsiteX3" fmla="*/ 0 w 5305662"/>
              <a:gd name="connsiteY3" fmla="*/ 2652831 h 5305662"/>
              <a:gd name="connsiteX4" fmla="*/ 2652831 w 5305662"/>
              <a:gd name="connsiteY4" fmla="*/ 0 h 530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5662" h="5305662">
                <a:moveTo>
                  <a:pt x="2652831" y="0"/>
                </a:moveTo>
                <a:cubicBezTo>
                  <a:pt x="4117949" y="0"/>
                  <a:pt x="5305662" y="1187713"/>
                  <a:pt x="5305662" y="2652831"/>
                </a:cubicBezTo>
                <a:cubicBezTo>
                  <a:pt x="5305662" y="4117949"/>
                  <a:pt x="4117949" y="5305662"/>
                  <a:pt x="2652831" y="5305662"/>
                </a:cubicBezTo>
                <a:cubicBezTo>
                  <a:pt x="1187713" y="5305662"/>
                  <a:pt x="0" y="4117949"/>
                  <a:pt x="0" y="2652831"/>
                </a:cubicBezTo>
                <a:cubicBezTo>
                  <a:pt x="0" y="1187713"/>
                  <a:pt x="1187713" y="0"/>
                  <a:pt x="265283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 flipH="1">
            <a:off x="5400786" y="-2003509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19A1397F-1946-4CBE-9EC5-159C3CBC7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535F2AB-153E-44A9-97BE-00553BEC17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298D65-1027-4897-A948-DCEEF8FC3D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4A817C4C-EA65-E40C-352F-E88C59FF56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2F5E8F31-7BE6-3362-654A-8318A6C127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1857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9F866E5C-B8AA-4805-B232-831BA01AAF16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8614F0-2DA3-4F29-8CB3-D61424AC8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D52F08-13EC-4AB4-BB79-89A5395A0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2544236D-8C3A-41EF-9A68-C84A8A7D0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009D5C6-6206-4291-8037-67DC025F0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EB643FD-AA85-4A43-8EBD-AFD10DD987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001F313-F798-43BE-AFF0-A68C84C36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881DEA-0ECB-4310-ADF5-4337ACB433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8AA60D92-4ADA-954C-FE6C-5BE932DC48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33F322BF-27EC-06F7-4725-60D4ED3439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10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7875E41-4794-1751-DF6F-4E269FAF6F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0365" y="5371"/>
            <a:ext cx="2581635" cy="762106"/>
          </a:xfrm>
          <a:prstGeom prst="rect">
            <a:avLst/>
          </a:prstGeom>
        </p:spPr>
      </p:pic>
      <p:pic>
        <p:nvPicPr>
          <p:cNvPr id="10" name="Picture 9" descr="A logo of a building&#10;&#10;Description automatically generated">
            <a:extLst>
              <a:ext uri="{FF2B5EF4-FFF2-40B4-BE49-F238E27FC236}">
                <a16:creationId xmlns:a16="http://schemas.microsoft.com/office/drawing/2014/main" id="{DB8F4C66-1738-E1A8-2D3D-38EF5B10A5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6702" y="1921066"/>
            <a:ext cx="4021157" cy="3015868"/>
          </a:xfrm>
          <a:prstGeom prst="rect">
            <a:avLst/>
          </a:prstGeom>
        </p:spPr>
      </p:pic>
      <p:pic>
        <p:nvPicPr>
          <p:cNvPr id="17" name="Picture 1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C835B4D5-443D-739A-8D29-BE36035114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40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33" userDrawn="1">
          <p15:clr>
            <a:srgbClr val="FBAE40"/>
          </p15:clr>
        </p15:guide>
        <p15:guide id="4" pos="36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087E09-D75F-4E26-B01E-A1A09BA2EA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7A70B7-7ADE-4E0B-B956-363B0B1A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2563"/>
            <a:ext cx="10515600" cy="940181"/>
          </a:xfrm>
        </p:spPr>
        <p:txBody>
          <a:bodyPr anchor="b">
            <a:noAutofit/>
          </a:bodyPr>
          <a:lstStyle>
            <a:lvl1pPr algn="ctr"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B5603-8A62-4D45-B6EF-0D7E2D5FC4F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39388" y="1154832"/>
            <a:ext cx="7900525" cy="764460"/>
          </a:xfrm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Dummy Text Comes Her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31D2A9-0B92-4197-8802-80424C14EA7E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3B74B0-30B9-45C2-9AE6-45D1978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rgbClr val="2C567A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5A30B6B-EEDB-4142-8138-D50F5A307D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93041" y="2270376"/>
            <a:ext cx="6206400" cy="4587625"/>
          </a:xfrm>
          <a:custGeom>
            <a:avLst/>
            <a:gdLst>
              <a:gd name="connsiteX0" fmla="*/ 3103200 w 6206400"/>
              <a:gd name="connsiteY0" fmla="*/ 0 h 4587625"/>
              <a:gd name="connsiteX1" fmla="*/ 6206400 w 6206400"/>
              <a:gd name="connsiteY1" fmla="*/ 3103200 h 4587625"/>
              <a:gd name="connsiteX2" fmla="*/ 5831861 w 6206400"/>
              <a:gd name="connsiteY2" fmla="*/ 4582370 h 4587625"/>
              <a:gd name="connsiteX3" fmla="*/ 5828668 w 6206400"/>
              <a:gd name="connsiteY3" fmla="*/ 4587625 h 4587625"/>
              <a:gd name="connsiteX4" fmla="*/ 377733 w 6206400"/>
              <a:gd name="connsiteY4" fmla="*/ 4587625 h 4587625"/>
              <a:gd name="connsiteX5" fmla="*/ 374540 w 6206400"/>
              <a:gd name="connsiteY5" fmla="*/ 4582370 h 4587625"/>
              <a:gd name="connsiteX6" fmla="*/ 0 w 6206400"/>
              <a:gd name="connsiteY6" fmla="*/ 3103200 h 4587625"/>
              <a:gd name="connsiteX7" fmla="*/ 3103200 w 6206400"/>
              <a:gd name="connsiteY7" fmla="*/ 0 h 458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06400" h="4587625">
                <a:moveTo>
                  <a:pt x="3103200" y="0"/>
                </a:moveTo>
                <a:cubicBezTo>
                  <a:pt x="4817050" y="0"/>
                  <a:pt x="6206400" y="1389350"/>
                  <a:pt x="6206400" y="3103200"/>
                </a:cubicBezTo>
                <a:cubicBezTo>
                  <a:pt x="6206400" y="3638778"/>
                  <a:pt x="6070721" y="4142667"/>
                  <a:pt x="5831861" y="4582370"/>
                </a:cubicBezTo>
                <a:lnTo>
                  <a:pt x="5828668" y="4587625"/>
                </a:lnTo>
                <a:lnTo>
                  <a:pt x="377733" y="4587625"/>
                </a:lnTo>
                <a:lnTo>
                  <a:pt x="374540" y="4582370"/>
                </a:lnTo>
                <a:cubicBezTo>
                  <a:pt x="135679" y="4142667"/>
                  <a:pt x="0" y="3638778"/>
                  <a:pt x="0" y="3103200"/>
                </a:cubicBezTo>
                <a:cubicBezTo>
                  <a:pt x="0" y="1389350"/>
                  <a:pt x="1389350" y="0"/>
                  <a:pt x="310320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7" name="Picture 6" descr="A logo of a building">
            <a:extLst>
              <a:ext uri="{FF2B5EF4-FFF2-40B4-BE49-F238E27FC236}">
                <a16:creationId xmlns:a16="http://schemas.microsoft.com/office/drawing/2014/main" id="{59ADA32D-DA5B-648B-F53E-72831306C6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495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914189" cy="4351338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2E17FB3-B5C4-4B3A-A57B-C6493A9D0C66}"/>
              </a:ext>
            </a:extLst>
          </p:cNvPr>
          <p:cNvGrpSpPr/>
          <p:nvPr userDrawn="1"/>
        </p:nvGrpSpPr>
        <p:grpSpPr>
          <a:xfrm rot="8650774">
            <a:off x="5037655" y="4336093"/>
            <a:ext cx="1905000" cy="2354263"/>
            <a:chOff x="11114088" y="2241550"/>
            <a:chExt cx="1905000" cy="235426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CA6C454-F761-4265-BB5E-DFD947CC3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B853B2F-9E1C-4AC4-9344-8610498D5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B7FCC84B-2235-4948-8277-8363DFC69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26619E66-5354-4D60-8529-27917AC037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4648" y="0"/>
            <a:ext cx="6307353" cy="5780372"/>
          </a:xfrm>
          <a:custGeom>
            <a:avLst/>
            <a:gdLst>
              <a:gd name="connsiteX0" fmla="*/ 760444 w 6307353"/>
              <a:gd name="connsiteY0" fmla="*/ 0 h 5780372"/>
              <a:gd name="connsiteX1" fmla="*/ 6307353 w 6307353"/>
              <a:gd name="connsiteY1" fmla="*/ 0 h 5780372"/>
              <a:gd name="connsiteX2" fmla="*/ 6307353 w 6307353"/>
              <a:gd name="connsiteY2" fmla="*/ 4515612 h 5780372"/>
              <a:gd name="connsiteX3" fmla="*/ 6110746 w 6307353"/>
              <a:gd name="connsiteY3" fmla="*/ 4731934 h 5780372"/>
              <a:gd name="connsiteX4" fmla="*/ 3579592 w 6307353"/>
              <a:gd name="connsiteY4" fmla="*/ 5780372 h 5780372"/>
              <a:gd name="connsiteX5" fmla="*/ 0 w 6307353"/>
              <a:gd name="connsiteY5" fmla="*/ 2200780 h 5780372"/>
              <a:gd name="connsiteX6" fmla="*/ 611338 w 6307353"/>
              <a:gd name="connsiteY6" fmla="*/ 199396 h 578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07353" h="5780372">
                <a:moveTo>
                  <a:pt x="760444" y="0"/>
                </a:moveTo>
                <a:lnTo>
                  <a:pt x="6307353" y="0"/>
                </a:lnTo>
                <a:lnTo>
                  <a:pt x="6307353" y="4515612"/>
                </a:lnTo>
                <a:lnTo>
                  <a:pt x="6110746" y="4731934"/>
                </a:lnTo>
                <a:cubicBezTo>
                  <a:pt x="5462967" y="5379713"/>
                  <a:pt x="4568069" y="5780372"/>
                  <a:pt x="3579592" y="5780372"/>
                </a:cubicBezTo>
                <a:cubicBezTo>
                  <a:pt x="1602638" y="5780372"/>
                  <a:pt x="0" y="4177734"/>
                  <a:pt x="0" y="2200780"/>
                </a:cubicBezTo>
                <a:cubicBezTo>
                  <a:pt x="0" y="1459422"/>
                  <a:pt x="225371" y="770703"/>
                  <a:pt x="611338" y="19939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646B4F-6CCB-724C-9D5E-6D5770023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lIns="0" tIns="0" rIns="0" bIns="0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A7649CF7-2AA9-DF22-2AA9-132A9ECCBE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4" name="Picture 3" descr="A logo of a building">
            <a:extLst>
              <a:ext uri="{FF2B5EF4-FFF2-40B4-BE49-F238E27FC236}">
                <a16:creationId xmlns:a16="http://schemas.microsoft.com/office/drawing/2014/main" id="{40F4AC5C-A808-0278-D833-8EC66C6332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208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lIns="0" tIns="0" rIns="0" bIns="0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960" y="1825625"/>
            <a:ext cx="4914189" cy="4351338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15693-E2CB-4DB4-B07C-2F96B0CAB302}"/>
              </a:ext>
            </a:extLst>
          </p:cNvPr>
          <p:cNvSpPr/>
          <p:nvPr userDrawn="1"/>
        </p:nvSpPr>
        <p:spPr>
          <a:xfrm>
            <a:off x="7854462" y="988536"/>
            <a:ext cx="4329129" cy="488092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4C1BF67-E354-4E04-8F94-BABF2B7D1AFB}"/>
              </a:ext>
            </a:extLst>
          </p:cNvPr>
          <p:cNvSpPr/>
          <p:nvPr userDrawn="1"/>
        </p:nvSpPr>
        <p:spPr>
          <a:xfrm>
            <a:off x="5107816" y="633613"/>
            <a:ext cx="5571908" cy="5571906"/>
          </a:xfrm>
          <a:prstGeom prst="ellipse">
            <a:avLst/>
          </a:prstGeom>
          <a:solidFill>
            <a:schemeClr val="bg2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F6AC390-6F85-4B64-AE7A-E8E0D8FC89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55212" y="988536"/>
            <a:ext cx="4884848" cy="48848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21596A3-A3E8-273F-EDFA-37F7B20F2C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E68F8B6A-BAAD-83FD-8FFE-C72EE58872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986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2E4E194-63F1-4D43-AC02-75733DF045E9}"/>
              </a:ext>
            </a:extLst>
          </p:cNvPr>
          <p:cNvSpPr/>
          <p:nvPr userDrawn="1"/>
        </p:nvSpPr>
        <p:spPr>
          <a:xfrm>
            <a:off x="8308181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799E3E2-888B-2343-9A63-F84C03265CB5}"/>
              </a:ext>
            </a:extLst>
          </p:cNvPr>
          <p:cNvSpPr>
            <a:spLocks noChangeAspect="1"/>
          </p:cNvSpPr>
          <p:nvPr userDrawn="1"/>
        </p:nvSpPr>
        <p:spPr>
          <a:xfrm>
            <a:off x="9833702" y="1823757"/>
            <a:ext cx="832104" cy="832104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8FEDE8EF-5B7A-A741-9A56-D365CAE01B6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98318" y="1988373"/>
            <a:ext cx="502873" cy="502873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55C1FB-E61C-4BBC-8179-D34908DEA1B6}"/>
              </a:ext>
            </a:extLst>
          </p:cNvPr>
          <p:cNvSpPr/>
          <p:nvPr userDrawn="1"/>
        </p:nvSpPr>
        <p:spPr>
          <a:xfrm>
            <a:off x="0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C1E0992-271E-4948-9461-C7AA54AF8FEA}"/>
              </a:ext>
            </a:extLst>
          </p:cNvPr>
          <p:cNvSpPr>
            <a:spLocks noChangeAspect="1"/>
          </p:cNvSpPr>
          <p:nvPr userDrawn="1"/>
        </p:nvSpPr>
        <p:spPr>
          <a:xfrm>
            <a:off x="1526011" y="1823757"/>
            <a:ext cx="832104" cy="83210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126" y="3207024"/>
            <a:ext cx="3445566" cy="2504663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B71D50-AA4B-4E0C-8F6A-0F64F2C8A8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83819" y="1630018"/>
            <a:ext cx="4424362" cy="4373217"/>
          </a:xfrm>
          <a:solidFill>
            <a:schemeClr val="bg2">
              <a:lumMod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47C9C38-5B17-467D-B581-EF28ECB11E8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527490" y="3207024"/>
            <a:ext cx="3445200" cy="2504663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19126" y="2711636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8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94448B-800C-40EF-8F61-18C018E8374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527124" y="2711636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8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3B974E-5202-4EAD-9D55-4129C84BAE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690627" y="1988373"/>
            <a:ext cx="502873" cy="502873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46A6D5B-EB20-C5ED-3D9E-1657291AB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10" name="Picture 9" descr="A logo of a building">
            <a:extLst>
              <a:ext uri="{FF2B5EF4-FFF2-40B4-BE49-F238E27FC236}">
                <a16:creationId xmlns:a16="http://schemas.microsoft.com/office/drawing/2014/main" id="{7475480B-E869-3664-51CB-CD67318A10E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33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B6EB0C6-606C-4AFB-8FF8-AB43606B95BD}"/>
              </a:ext>
            </a:extLst>
          </p:cNvPr>
          <p:cNvSpPr/>
          <p:nvPr userDrawn="1"/>
        </p:nvSpPr>
        <p:spPr>
          <a:xfrm>
            <a:off x="6599236" y="4707908"/>
            <a:ext cx="5592763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CE6D5A-A5C0-4B12-A26A-691D5743FA5C}"/>
              </a:ext>
            </a:extLst>
          </p:cNvPr>
          <p:cNvSpPr/>
          <p:nvPr userDrawn="1"/>
        </p:nvSpPr>
        <p:spPr>
          <a:xfrm>
            <a:off x="-82063" y="1648186"/>
            <a:ext cx="5709139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0934" y="2863158"/>
            <a:ext cx="4074002" cy="2846648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309370" y="1903728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Topic 01 comes he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E5123CE7-2F8A-489B-BD99-0C2A33ADF49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27918" y="1648186"/>
            <a:ext cx="4074002" cy="2834508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07730BCF-AC2A-4FEC-8F01-63964DB444C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475709" y="4963450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Topic 02 comes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19C8692-230B-D543-A7F7-4FD61B04D1C6}"/>
              </a:ext>
            </a:extLst>
          </p:cNvPr>
          <p:cNvSpPr>
            <a:spLocks noChangeAspect="1"/>
          </p:cNvSpPr>
          <p:nvPr userDrawn="1"/>
        </p:nvSpPr>
        <p:spPr>
          <a:xfrm>
            <a:off x="5084763" y="1652762"/>
            <a:ext cx="1001899" cy="1001899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E150BFC7-A11D-CC46-B5A2-8BD93C2695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282969" y="1850968"/>
            <a:ext cx="605487" cy="605487"/>
          </a:xfrm>
          <a:prstGeom prst="rect">
            <a:avLst/>
          </a:prstGeom>
          <a:noFill/>
        </p:spPr>
        <p:txBody>
          <a:bodyPr lIns="0" rIns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95B55F4-B501-3440-8904-A1C7F049CBE8}"/>
              </a:ext>
            </a:extLst>
          </p:cNvPr>
          <p:cNvSpPr>
            <a:spLocks noChangeAspect="1"/>
          </p:cNvSpPr>
          <p:nvPr userDrawn="1"/>
        </p:nvSpPr>
        <p:spPr>
          <a:xfrm>
            <a:off x="6100576" y="4707907"/>
            <a:ext cx="1001899" cy="1001899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9" name="Picture Placeholder 11">
            <a:extLst>
              <a:ext uri="{FF2B5EF4-FFF2-40B4-BE49-F238E27FC236}">
                <a16:creationId xmlns:a16="http://schemas.microsoft.com/office/drawing/2014/main" id="{F2116994-BE3E-6A43-9C15-E71BA8EC82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98782" y="4906113"/>
            <a:ext cx="605487" cy="605487"/>
          </a:xfrm>
          <a:prstGeom prst="rect">
            <a:avLst/>
          </a:prstGeom>
          <a:noFill/>
        </p:spPr>
        <p:txBody>
          <a:bodyPr lIns="0" rIns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64ADFE8-F1A8-3C91-9CBC-EFF54CF03D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1877E2D2-15B2-07E0-534D-0C1E6C33371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00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4B31150-A166-4DB3-A898-2154C9665891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1C1A95BC-42CA-4166-918D-DF430688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B4D5F91-2158-4A30-B83C-5CC9CC6E5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509E5D6-79CC-4E1D-AAF4-C6F28F3C1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B70E2287-0F7B-4DD3-A805-DB19BBF3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CE74CE-BEFF-42B3-BF3E-C41B1B1F1EE4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0944B4-FE4A-459A-85B1-3476FE6C4C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B26B4BC-3D52-4C1C-85FB-226F0B5201F1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C6B25A-6AA2-46A7-84BE-5C907CA51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9C3B101-6B15-6281-DF82-836FFBCD6C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048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D3CC58BC-8154-068A-CE4D-25515D701A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760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31CD316-21C7-4FA9-A45A-374D6AE71ED5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E107D9FB-3967-4583-A9DA-6787AF71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138D5FEB-37FF-4F26-B625-CE2BE91FF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6C2B67E8-673C-422C-B021-296E2E2B9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687010E4-ADF2-486D-8DF7-B0FF38C6DADF}"/>
              </a:ext>
            </a:extLst>
          </p:cNvPr>
          <p:cNvSpPr/>
          <p:nvPr userDrawn="1"/>
        </p:nvSpPr>
        <p:spPr>
          <a:xfrm>
            <a:off x="954140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159AA79-2237-4A27-BBC2-D44032158D19}"/>
              </a:ext>
            </a:extLst>
          </p:cNvPr>
          <p:cNvSpPr/>
          <p:nvPr userDrawn="1"/>
        </p:nvSpPr>
        <p:spPr>
          <a:xfrm>
            <a:off x="3807539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272B962-9566-42D2-B4C3-E7AA81884A83}"/>
              </a:ext>
            </a:extLst>
          </p:cNvPr>
          <p:cNvSpPr/>
          <p:nvPr userDrawn="1"/>
        </p:nvSpPr>
        <p:spPr>
          <a:xfrm>
            <a:off x="6646275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9733285-016C-4C38-816C-83D30C075C70}"/>
              </a:ext>
            </a:extLst>
          </p:cNvPr>
          <p:cNvSpPr/>
          <p:nvPr userDrawn="1"/>
        </p:nvSpPr>
        <p:spPr>
          <a:xfrm>
            <a:off x="9498658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F40DBA4-AB63-4B47-B37F-BCC3D59B5392}"/>
              </a:ext>
            </a:extLst>
          </p:cNvPr>
          <p:cNvSpPr/>
          <p:nvPr userDrawn="1"/>
        </p:nvSpPr>
        <p:spPr>
          <a:xfrm>
            <a:off x="4011967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3EF0AFB-D099-4FF1-8963-7DA87268867F}"/>
              </a:ext>
            </a:extLst>
          </p:cNvPr>
          <p:cNvSpPr/>
          <p:nvPr userDrawn="1"/>
        </p:nvSpPr>
        <p:spPr>
          <a:xfrm>
            <a:off x="6850703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872C96E-9AF3-4FA0-8180-C213C7F2209E}"/>
              </a:ext>
            </a:extLst>
          </p:cNvPr>
          <p:cNvSpPr/>
          <p:nvPr userDrawn="1"/>
        </p:nvSpPr>
        <p:spPr>
          <a:xfrm>
            <a:off x="9703086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A08BE29-CFA5-4E0D-9DBE-A430AE1B8072}"/>
              </a:ext>
            </a:extLst>
          </p:cNvPr>
          <p:cNvSpPr/>
          <p:nvPr userDrawn="1"/>
        </p:nvSpPr>
        <p:spPr>
          <a:xfrm>
            <a:off x="1158568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70E2287-0F7B-4DD3-A805-DB19BBF3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CE74CE-BEFF-42B3-BF3E-C41B1B1F1EE4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0944B4-FE4A-459A-85B1-3476FE6C4C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B26B4BC-3D52-4C1C-85FB-226F0B5201F1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C6B25A-6AA2-46A7-84BE-5C907CA51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B995BE-66C2-4379-885F-4BE069DA39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03638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B56B6C6-9F3C-4E80-BBAD-280E697B89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57037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4704160-1ED7-4B90-8963-0F887C73E9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95773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6610597-6A76-4A06-82A5-A8FFC5BAEA0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48156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F56D2E5-86E4-473A-A62F-B7029E5B2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454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3934E34-6CC7-492D-9515-EBEC72EFF4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24454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E4E27467-A1AA-4773-AAB5-A96267FBD71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7853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6CABD5EB-4A8B-448B-8ED1-B8B420815B2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77853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D86883C-E501-47FF-AE1A-E9CE8B71B42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16589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3683A037-F698-4CC9-904D-F377D71F690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6589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0A095594-2B82-44ED-8C9B-DA7C4D3D287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68972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CDD46A-22ED-48F5-9B5F-13B1B5C4B320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68972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B1669D3E-1B01-F1B2-92B2-DD280C47D9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4" name="Picture 3" descr="A logo of a building">
            <a:extLst>
              <a:ext uri="{FF2B5EF4-FFF2-40B4-BE49-F238E27FC236}">
                <a16:creationId xmlns:a16="http://schemas.microsoft.com/office/drawing/2014/main" id="{1F9ED962-09F6-7212-7B1E-519914E9C8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03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C4D7FA-B85E-4477-8C62-94955B340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1226BB-3E56-4E7F-8172-7EC03C9F0B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5D08EF-72FB-4F19-9916-65815A9CA9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51F27F-98F9-A147-8986-34441C7B752D}" type="datetime1">
              <a:rPr lang="en-US" noProof="0" smtClean="0"/>
              <a:t>2/19/24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5084D-BC85-4A55-BD80-93876AD10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DEF23-A140-4DD6-A0D0-A86BD4DF34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71654-96A5-4280-94F3-931C61A9F92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7082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0" r:id="rId4"/>
    <p:sldLayoutId id="2147483661" r:id="rId5"/>
    <p:sldLayoutId id="2147483662" r:id="rId6"/>
    <p:sldLayoutId id="2147483663" r:id="rId7"/>
    <p:sldLayoutId id="2147483654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B08B8-3DB3-4637-AE23-B8DB96D9FC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/>
          <a:p>
            <a:r>
              <a:rPr lang="en-US" sz="4800" dirty="0" err="1"/>
              <a:t>Konsep</a:t>
            </a:r>
            <a:r>
              <a:rPr lang="en-US" sz="4800" dirty="0"/>
              <a:t> basis data </a:t>
            </a:r>
            <a:r>
              <a:rPr lang="en-US" sz="4800" dirty="0" err="1"/>
              <a:t>relasional</a:t>
            </a:r>
            <a:endParaRPr lang="en-US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98AA37-E298-4CD8-9F0F-2123ACFD96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701932"/>
          </a:xfrm>
        </p:spPr>
        <p:txBody>
          <a:bodyPr>
            <a:noAutofit/>
          </a:bodyPr>
          <a:lstStyle/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 err="1"/>
              <a:t>Konsep</a:t>
            </a:r>
            <a:r>
              <a:rPr lang="en-US" sz="1600" dirty="0"/>
              <a:t> BD </a:t>
            </a:r>
            <a:r>
              <a:rPr lang="en-US" sz="1600" dirty="0" err="1"/>
              <a:t>relasional</a:t>
            </a:r>
            <a:endParaRPr lang="en-US" sz="1600" dirty="0"/>
          </a:p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 err="1"/>
              <a:t>manfaat</a:t>
            </a:r>
            <a:r>
              <a:rPr lang="en-US" sz="1600" dirty="0"/>
              <a:t> BDR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/>
              <a:t>contoh2 BDR</a:t>
            </a:r>
          </a:p>
        </p:txBody>
      </p:sp>
      <p:pic>
        <p:nvPicPr>
          <p:cNvPr id="7" name="Picture Placeholder 6" descr="A logo of a building&#10;&#10;Description automatically generated">
            <a:extLst>
              <a:ext uri="{FF2B5EF4-FFF2-40B4-BE49-F238E27FC236}">
                <a16:creationId xmlns:a16="http://schemas.microsoft.com/office/drawing/2014/main" id="{EEF3E675-D4FB-14C9-0C69-9AB47DCCC36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12740" r="12262" b="3"/>
          <a:stretch/>
        </p:blipFill>
        <p:spPr>
          <a:xfrm>
            <a:off x="710812" y="728545"/>
            <a:ext cx="5305661" cy="5305661"/>
          </a:xfrm>
          <a:noFill/>
        </p:spPr>
      </p:pic>
    </p:spTree>
    <p:extLst>
      <p:ext uri="{BB962C8B-B14F-4D97-AF65-F5344CB8AC3E}">
        <p14:creationId xmlns:p14="http://schemas.microsoft.com/office/powerpoint/2010/main" val="31671720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618A58-4766-AC59-88F9-3661D2C5F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97CB5DC-A663-4C78-FE79-FF808ED9B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Super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Satu/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mpul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c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gidentifik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u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pe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(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a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leb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field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pa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mbeda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nt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1 record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record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lain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)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Candidate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asa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mpuny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nil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(super key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juml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field yang pali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diki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)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Primary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Candidate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gidentifikasi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pe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c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Alternate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Candidate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ary key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Foreign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omain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m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jad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nc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tam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u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tap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rse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ha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asa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A30BBC4-9406-2FB9-56C0-EF3EFC508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ional key</a:t>
            </a:r>
          </a:p>
        </p:txBody>
      </p:sp>
    </p:spTree>
    <p:extLst>
      <p:ext uri="{BB962C8B-B14F-4D97-AF65-F5344CB8AC3E}">
        <p14:creationId xmlns:p14="http://schemas.microsoft.com/office/powerpoint/2010/main" val="2014506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BB1CB2-313B-1321-3A27-8B306059F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E3A2E6-0F16-2F32-68D3-F7302B5C6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 descr="Types of Keys in Relational Model (Candidate, Super, Primary, Alternate and  Foreign) - GeeksforGeeks">
            <a:extLst>
              <a:ext uri="{FF2B5EF4-FFF2-40B4-BE49-F238E27FC236}">
                <a16:creationId xmlns:a16="http://schemas.microsoft.com/office/drawing/2014/main" id="{C851661D-CA25-C88D-04B6-29726DF8B1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7463" y="1379516"/>
            <a:ext cx="9727324" cy="48636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403864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9350B4-22A2-997E-B149-4E45F06DA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32E735-2ECC-11E4-0589-2C40A67E06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 fontAlgn="base"/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onal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berhubu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a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ikatak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memilik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.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Hubu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ntar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memilik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per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esua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base.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Berikut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dalah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uran-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 </a:t>
            </a:r>
            <a:r>
              <a:rPr lang="en-ID" b="0" i="1" dirty="0">
                <a:solidFill>
                  <a:srgbClr val="373737"/>
                </a:solidFill>
                <a:effectLst/>
                <a:latin typeface="inherit"/>
              </a:rPr>
              <a:t>relational integrity rules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:</a:t>
            </a: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Nul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Nila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u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ketahu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a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coco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baris (tuple)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rsebut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Entity Integrit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d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ompone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ary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ernil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null.</a:t>
            </a: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Referential Integrit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u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om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pa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ak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nc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er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l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rupa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ngga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domain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ersangkutan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FFF1BB-11DF-7278-22E4-E8B7610E1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b="1" i="1" dirty="0">
                <a:solidFill>
                  <a:srgbClr val="000000"/>
                </a:solidFill>
                <a:effectLst/>
                <a:latin typeface="inherit"/>
              </a:rPr>
              <a:t>Relational Integrity Ru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9990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A80EF2-80BF-82F6-8C28-57495D977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DBA46B-07FF-621A-868A-F3E2B56D5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Model data </a:t>
            </a:r>
            <a:r>
              <a:rPr lang="en-US" dirty="0" err="1"/>
              <a:t>relasional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dimengerti</a:t>
            </a:r>
            <a:r>
              <a:rPr lang="en-US" dirty="0"/>
              <a:t> oleh </a:t>
            </a:r>
            <a:r>
              <a:rPr lang="en-US" dirty="0" err="1"/>
              <a:t>semua</a:t>
            </a:r>
            <a:r>
              <a:rPr lang="en-US" dirty="0"/>
              <a:t> </a:t>
            </a:r>
            <a:r>
              <a:rPr lang="en-US" dirty="0" err="1"/>
              <a:t>kalangan</a:t>
            </a:r>
            <a:r>
              <a:rPr lang="en-US" dirty="0"/>
              <a:t>, </a:t>
            </a:r>
            <a:r>
              <a:rPr lang="en-US" dirty="0" err="1"/>
              <a:t>termasuk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kalangan</a:t>
            </a:r>
            <a:r>
              <a:rPr lang="en-US" dirty="0"/>
              <a:t> non-programmer </a:t>
            </a:r>
            <a:r>
              <a:rPr lang="en-US" dirty="0" err="1"/>
              <a:t>karena</a:t>
            </a:r>
            <a:r>
              <a:rPr lang="en-US" dirty="0"/>
              <a:t> </a:t>
            </a:r>
            <a:r>
              <a:rPr lang="en-US" dirty="0" err="1"/>
              <a:t>bentuk</a:t>
            </a:r>
            <a:r>
              <a:rPr lang="en-US" dirty="0"/>
              <a:t> yang simple dan </a:t>
            </a:r>
            <a:r>
              <a:rPr lang="en-US" dirty="0" err="1"/>
              <a:t>penjabaran</a:t>
            </a:r>
            <a:r>
              <a:rPr lang="en-US" dirty="0"/>
              <a:t> </a:t>
            </a:r>
            <a:r>
              <a:rPr lang="en-US" dirty="0" err="1"/>
              <a:t>hubungan</a:t>
            </a:r>
            <a:r>
              <a:rPr lang="en-US" dirty="0"/>
              <a:t> </a:t>
            </a:r>
            <a:r>
              <a:rPr lang="en-US" dirty="0" err="1"/>
              <a:t>antar</a:t>
            </a:r>
            <a:r>
              <a:rPr lang="en-US" dirty="0"/>
              <a:t> data yang </a:t>
            </a:r>
            <a:r>
              <a:rPr lang="en-US" dirty="0" err="1"/>
              <a:t>mengambil</a:t>
            </a:r>
            <a:r>
              <a:rPr lang="en-US" dirty="0"/>
              <a:t> </a:t>
            </a:r>
            <a:r>
              <a:rPr lang="en-US" dirty="0" err="1"/>
              <a:t>konsep</a:t>
            </a:r>
            <a:r>
              <a:rPr lang="en-US" dirty="0"/>
              <a:t> </a:t>
            </a:r>
            <a:r>
              <a:rPr lang="en-US" dirty="0" err="1"/>
              <a:t>relasi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matematika</a:t>
            </a:r>
            <a:endParaRPr lang="en-US" dirty="0"/>
          </a:p>
          <a:p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bentuk</a:t>
            </a:r>
            <a:r>
              <a:rPr lang="en-US" dirty="0"/>
              <a:t> yang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dipahami</a:t>
            </a:r>
            <a:r>
              <a:rPr lang="en-US" dirty="0"/>
              <a:t>, programmer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operasi</a:t>
            </a:r>
            <a:r>
              <a:rPr lang="en-US" dirty="0"/>
              <a:t> data </a:t>
            </a:r>
            <a:r>
              <a:rPr lang="en-US" dirty="0" err="1"/>
              <a:t>misalnya</a:t>
            </a:r>
            <a:r>
              <a:rPr lang="en-US" dirty="0"/>
              <a:t> query, update, edit </a:t>
            </a:r>
            <a:r>
              <a:rPr lang="en-US" dirty="0" err="1"/>
              <a:t>ataupun</a:t>
            </a:r>
            <a:r>
              <a:rPr lang="en-US" dirty="0"/>
              <a:t> delete</a:t>
            </a:r>
          </a:p>
          <a:p>
            <a:r>
              <a:rPr lang="en-ID" dirty="0" err="1"/>
              <a:t>Biasanya</a:t>
            </a:r>
            <a:r>
              <a:rPr lang="en-ID" dirty="0"/>
              <a:t> </a:t>
            </a:r>
            <a:r>
              <a:rPr lang="en-ID" dirty="0" err="1"/>
              <a:t>setiap</a:t>
            </a:r>
            <a:r>
              <a:rPr lang="en-ID" dirty="0"/>
              <a:t> orang yang </a:t>
            </a:r>
            <a:r>
              <a:rPr lang="en-ID" dirty="0" err="1"/>
              <a:t>mengakses</a:t>
            </a:r>
            <a:r>
              <a:rPr lang="en-ID" dirty="0"/>
              <a:t> database 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memiliki</a:t>
            </a:r>
            <a:r>
              <a:rPr lang="en-ID" dirty="0"/>
              <a:t> </a:t>
            </a:r>
            <a:r>
              <a:rPr lang="en-ID" dirty="0" err="1"/>
              <a:t>hak</a:t>
            </a:r>
            <a:r>
              <a:rPr lang="en-ID" dirty="0"/>
              <a:t> </a:t>
            </a:r>
            <a:r>
              <a:rPr lang="en-ID" dirty="0" err="1"/>
              <a:t>akses</a:t>
            </a:r>
            <a:r>
              <a:rPr lang="en-ID" dirty="0"/>
              <a:t> yang </a:t>
            </a:r>
            <a:r>
              <a:rPr lang="en-ID" dirty="0" err="1"/>
              <a:t>berbeda-beda</a:t>
            </a:r>
            <a:r>
              <a:rPr lang="en-ID" dirty="0"/>
              <a:t>. Jadi, </a:t>
            </a:r>
            <a:r>
              <a:rPr lang="en-ID" dirty="0" err="1"/>
              <a:t>meski</a:t>
            </a:r>
            <a:r>
              <a:rPr lang="en-ID" dirty="0"/>
              <a:t> </a:t>
            </a:r>
            <a:r>
              <a:rPr lang="en-ID" dirty="0" err="1"/>
              <a:t>siapa</a:t>
            </a:r>
            <a:r>
              <a:rPr lang="en-ID" dirty="0"/>
              <a:t> pun </a:t>
            </a:r>
            <a:r>
              <a:rPr lang="en-ID" dirty="0" err="1"/>
              <a:t>bisa</a:t>
            </a:r>
            <a:r>
              <a:rPr lang="en-ID" dirty="0"/>
              <a:t> </a:t>
            </a:r>
            <a:r>
              <a:rPr lang="en-ID" dirty="0" err="1"/>
              <a:t>masuk</a:t>
            </a:r>
            <a:r>
              <a:rPr lang="en-ID" dirty="0"/>
              <a:t>, </a:t>
            </a:r>
            <a:r>
              <a:rPr lang="en-ID" dirty="0" err="1"/>
              <a:t>hanya</a:t>
            </a:r>
            <a:r>
              <a:rPr lang="en-ID" dirty="0"/>
              <a:t> </a:t>
            </a:r>
            <a:r>
              <a:rPr lang="en-ID" dirty="0" err="1"/>
              <a:t>beberapa</a:t>
            </a:r>
            <a:r>
              <a:rPr lang="en-ID" dirty="0"/>
              <a:t> </a:t>
            </a:r>
            <a:r>
              <a:rPr lang="en-ID" dirty="0" err="1"/>
              <a:t>saja</a:t>
            </a:r>
            <a:r>
              <a:rPr lang="en-ID" dirty="0"/>
              <a:t> yang </a:t>
            </a:r>
            <a:r>
              <a:rPr lang="en-ID" dirty="0" err="1"/>
              <a:t>bisa</a:t>
            </a:r>
            <a:r>
              <a:rPr lang="en-ID" dirty="0"/>
              <a:t> </a:t>
            </a:r>
            <a:r>
              <a:rPr lang="en-ID" dirty="0" err="1"/>
              <a:t>melakukan</a:t>
            </a:r>
            <a:r>
              <a:rPr lang="en-ID" dirty="0"/>
              <a:t> </a:t>
            </a:r>
            <a:r>
              <a:rPr lang="en-ID" dirty="0" err="1"/>
              <a:t>modifikasi</a:t>
            </a:r>
            <a:r>
              <a:rPr lang="en-ID" dirty="0"/>
              <a:t>. </a:t>
            </a:r>
            <a:r>
              <a:rPr lang="en-ID" dirty="0" err="1"/>
              <a:t>Dengan</a:t>
            </a:r>
            <a:r>
              <a:rPr lang="en-ID" dirty="0"/>
              <a:t> </a:t>
            </a:r>
            <a:r>
              <a:rPr lang="en-ID" dirty="0" err="1"/>
              <a:t>sistem</a:t>
            </a:r>
            <a:r>
              <a:rPr lang="en-ID" dirty="0"/>
              <a:t> </a:t>
            </a:r>
            <a:r>
              <a:rPr lang="en-ID" dirty="0" err="1"/>
              <a:t>ini</a:t>
            </a:r>
            <a:r>
              <a:rPr lang="en-ID" dirty="0"/>
              <a:t>, </a:t>
            </a:r>
            <a:r>
              <a:rPr lang="en-ID" dirty="0" err="1"/>
              <a:t>keamanan</a:t>
            </a:r>
            <a:r>
              <a:rPr lang="en-ID" dirty="0"/>
              <a:t> database 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selalu</a:t>
            </a:r>
            <a:r>
              <a:rPr lang="en-ID" dirty="0"/>
              <a:t> </a:t>
            </a:r>
            <a:r>
              <a:rPr lang="en-ID" dirty="0" err="1"/>
              <a:t>terjaga</a:t>
            </a:r>
            <a:r>
              <a:rPr lang="en-ID" dirty="0"/>
              <a:t>. Karena </a:t>
            </a:r>
            <a:r>
              <a:rPr lang="en-ID" dirty="0" err="1"/>
              <a:t>jika</a:t>
            </a:r>
            <a:r>
              <a:rPr lang="en-ID" dirty="0"/>
              <a:t> </a:t>
            </a:r>
            <a:r>
              <a:rPr lang="en-ID" dirty="0" err="1"/>
              <a:t>ada</a:t>
            </a:r>
            <a:r>
              <a:rPr lang="en-ID" dirty="0"/>
              <a:t> </a:t>
            </a:r>
            <a:r>
              <a:rPr lang="en-ID" dirty="0" err="1"/>
              <a:t>perubahan</a:t>
            </a:r>
            <a:r>
              <a:rPr lang="en-ID" dirty="0"/>
              <a:t> 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diketahui</a:t>
            </a:r>
            <a:r>
              <a:rPr lang="en-ID" dirty="0"/>
              <a:t> </a:t>
            </a:r>
            <a:r>
              <a:rPr lang="en-ID" dirty="0" err="1"/>
              <a:t>siapa</a:t>
            </a:r>
            <a:r>
              <a:rPr lang="en-ID" dirty="0"/>
              <a:t> yang </a:t>
            </a:r>
            <a:r>
              <a:rPr lang="en-ID" dirty="0" err="1"/>
              <a:t>melakukan</a:t>
            </a:r>
            <a:r>
              <a:rPr lang="en-ID" dirty="0"/>
              <a:t> </a:t>
            </a:r>
            <a:r>
              <a:rPr lang="en-ID" dirty="0" err="1"/>
              <a:t>itu</a:t>
            </a:r>
            <a:r>
              <a:rPr lang="en-ID" b="0" i="0" dirty="0">
                <a:solidFill>
                  <a:srgbClr val="000000"/>
                </a:solidFill>
                <a:effectLst/>
                <a:latin typeface="PT Serif" panose="020A0603040505020204" pitchFamily="18" charset="77"/>
              </a:rPr>
              <a:t>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53E733-EC1D-E14C-4997-9E5463D20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elebihan</a:t>
            </a:r>
            <a:r>
              <a:rPr lang="en-US" dirty="0"/>
              <a:t> model data </a:t>
            </a:r>
            <a:r>
              <a:rPr lang="en-US" dirty="0" err="1"/>
              <a:t>relas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278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31F1EB-CD5C-DEDD-F1D4-F0AC66C3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FFC6EB-B1F9-F1FE-3651-40EF67264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b="1" i="0" dirty="0" err="1">
                <a:solidFill>
                  <a:srgbClr val="000000"/>
                </a:solidFill>
                <a:effectLst/>
                <a:latin typeface="Poppins" pitchFamily="2" charset="77"/>
              </a:rPr>
              <a:t>Contoh</a:t>
            </a:r>
            <a:r>
              <a:rPr lang="en-ID" b="1" i="0" dirty="0">
                <a:solidFill>
                  <a:srgbClr val="000000"/>
                </a:solidFill>
                <a:effectLst/>
                <a:latin typeface="Poppins" pitchFamily="2" charset="77"/>
              </a:rPr>
              <a:t> KASUS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13BECA-F156-551B-4510-0ECAF5C7F2A2}"/>
              </a:ext>
            </a:extLst>
          </p:cNvPr>
          <p:cNvSpPr/>
          <p:nvPr/>
        </p:nvSpPr>
        <p:spPr>
          <a:xfrm>
            <a:off x="515938" y="4884458"/>
            <a:ext cx="108477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Berdasarkan</a:t>
            </a:r>
            <a:r>
              <a:rPr lang="en-US" sz="1400" b="1" dirty="0"/>
              <a:t> </a:t>
            </a:r>
            <a:r>
              <a:rPr lang="en-US" sz="1400" b="1" dirty="0" err="1"/>
              <a:t>tabel</a:t>
            </a:r>
            <a:r>
              <a:rPr lang="en-US" sz="1400" b="1" dirty="0"/>
              <a:t> </a:t>
            </a:r>
            <a:r>
              <a:rPr lang="en-US" sz="1400" b="1" dirty="0" err="1"/>
              <a:t>tersebut</a:t>
            </a:r>
            <a:r>
              <a:rPr lang="en-US" sz="1400" b="1" dirty="0"/>
              <a:t>.</a:t>
            </a:r>
          </a:p>
          <a:p>
            <a:pPr lvl="0"/>
            <a:r>
              <a:rPr lang="en-US" sz="1400" dirty="0" err="1"/>
              <a:t>Pisahkan</a:t>
            </a:r>
            <a:r>
              <a:rPr lang="en-US" sz="1400" dirty="0"/>
              <a:t> </a:t>
            </a:r>
            <a:r>
              <a:rPr lang="en-US" sz="1400" dirty="0" err="1"/>
              <a:t>tabel</a:t>
            </a:r>
            <a:r>
              <a:rPr lang="en-US" sz="1400" dirty="0"/>
              <a:t> </a:t>
            </a:r>
            <a:r>
              <a:rPr lang="en-US" sz="1400" dirty="0" err="1"/>
              <a:t>diatas</a:t>
            </a:r>
            <a:r>
              <a:rPr lang="en-US" sz="1400" dirty="0"/>
              <a:t> </a:t>
            </a:r>
            <a:r>
              <a:rPr lang="en-US" sz="1400" dirty="0" err="1"/>
              <a:t>menjadi</a:t>
            </a:r>
            <a:r>
              <a:rPr lang="en-US" sz="1400" dirty="0"/>
              <a:t> 3 </a:t>
            </a:r>
            <a:r>
              <a:rPr lang="en-US" sz="1400" dirty="0" err="1"/>
              <a:t>tabel</a:t>
            </a:r>
            <a:r>
              <a:rPr lang="en-US" sz="1400" dirty="0"/>
              <a:t> </a:t>
            </a:r>
            <a:r>
              <a:rPr lang="en-US" sz="1400" b="1" dirty="0" err="1"/>
              <a:t>yaitu</a:t>
            </a:r>
            <a:r>
              <a:rPr lang="en-US" sz="1400" b="1" dirty="0"/>
              <a:t> </a:t>
            </a:r>
            <a:r>
              <a:rPr lang="en-US" sz="1400" b="1" dirty="0" err="1"/>
              <a:t>tabel</a:t>
            </a:r>
            <a:r>
              <a:rPr lang="en-US" sz="1400" b="1" dirty="0"/>
              <a:t> </a:t>
            </a:r>
            <a:r>
              <a:rPr lang="en-US" sz="1400" b="1" dirty="0" err="1"/>
              <a:t>mahasiswa</a:t>
            </a:r>
            <a:r>
              <a:rPr lang="en-US" sz="1400" b="1" dirty="0"/>
              <a:t>, </a:t>
            </a:r>
            <a:r>
              <a:rPr lang="en-US" sz="1400" b="1" dirty="0" err="1"/>
              <a:t>tabel</a:t>
            </a:r>
            <a:r>
              <a:rPr lang="en-US" sz="1400" b="1" dirty="0"/>
              <a:t> </a:t>
            </a:r>
            <a:r>
              <a:rPr lang="en-US" sz="1400" b="1" dirty="0" err="1"/>
              <a:t>dosen</a:t>
            </a:r>
            <a:r>
              <a:rPr lang="en-US" sz="1400" b="1" dirty="0"/>
              <a:t>, dan </a:t>
            </a:r>
            <a:r>
              <a:rPr lang="en-US" sz="1400" b="1" dirty="0" err="1"/>
              <a:t>tabel</a:t>
            </a:r>
            <a:r>
              <a:rPr lang="en-US" sz="1400" b="1" dirty="0"/>
              <a:t> </a:t>
            </a:r>
            <a:r>
              <a:rPr lang="en-US" sz="1400" b="1" dirty="0" err="1"/>
              <a:t>mata</a:t>
            </a:r>
            <a:r>
              <a:rPr lang="en-US" sz="1400" b="1" dirty="0"/>
              <a:t> </a:t>
            </a:r>
            <a:r>
              <a:rPr lang="en-US" sz="1400" b="1" dirty="0" err="1"/>
              <a:t>kuliah</a:t>
            </a:r>
            <a:r>
              <a:rPr lang="en-US" sz="1400" dirty="0"/>
              <a:t>. (</a:t>
            </a:r>
            <a:r>
              <a:rPr lang="en-US" sz="1400" dirty="0" err="1"/>
              <a:t>Boleh</a:t>
            </a:r>
            <a:r>
              <a:rPr lang="en-US" sz="1400" dirty="0"/>
              <a:t> </a:t>
            </a:r>
            <a:r>
              <a:rPr lang="en-US" sz="1400" dirty="0" err="1"/>
              <a:t>mengubah</a:t>
            </a:r>
            <a:r>
              <a:rPr lang="en-US" sz="1400" dirty="0"/>
              <a:t>, </a:t>
            </a:r>
            <a:r>
              <a:rPr lang="en-US" sz="1400" dirty="0" err="1"/>
              <a:t>menambahkan</a:t>
            </a:r>
            <a:r>
              <a:rPr lang="en-US" sz="1400" dirty="0"/>
              <a:t>/ </a:t>
            </a:r>
            <a:r>
              <a:rPr lang="en-US" sz="1400" dirty="0" err="1"/>
              <a:t>mengurangi</a:t>
            </a:r>
            <a:r>
              <a:rPr lang="en-US" sz="1400" dirty="0"/>
              <a:t> </a:t>
            </a:r>
            <a:r>
              <a:rPr lang="en-US" sz="1400" dirty="0" err="1"/>
              <a:t>nama</a:t>
            </a:r>
            <a:r>
              <a:rPr lang="en-US" sz="1400" dirty="0"/>
              <a:t> </a:t>
            </a:r>
            <a:r>
              <a:rPr lang="en-US" sz="1400" dirty="0" err="1"/>
              <a:t>kolom</a:t>
            </a:r>
            <a:r>
              <a:rPr lang="en-US" sz="1400" dirty="0"/>
              <a:t>/</a:t>
            </a:r>
            <a:r>
              <a:rPr lang="en-US" sz="1400" dirty="0" err="1"/>
              <a:t>atribut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tiap-tiap</a:t>
            </a:r>
            <a:r>
              <a:rPr lang="en-US" sz="1400" dirty="0"/>
              <a:t> </a:t>
            </a:r>
            <a:r>
              <a:rPr lang="en-US" sz="1400" dirty="0" err="1"/>
              <a:t>entitas</a:t>
            </a:r>
            <a:r>
              <a:rPr lang="en-US" sz="1400" dirty="0"/>
              <a:t> yang </a:t>
            </a:r>
            <a:r>
              <a:rPr lang="en-US" sz="1400" dirty="0" err="1"/>
              <a:t>relevan</a:t>
            </a:r>
            <a:r>
              <a:rPr lang="en-US" sz="1400" dirty="0"/>
              <a:t>).</a:t>
            </a:r>
          </a:p>
          <a:p>
            <a:r>
              <a:rPr lang="en-US" sz="1400" dirty="0"/>
              <a:t> </a:t>
            </a:r>
          </a:p>
          <a:p>
            <a:r>
              <a:rPr lang="en-US" sz="1400" dirty="0" err="1"/>
              <a:t>Buatlah</a:t>
            </a:r>
            <a:r>
              <a:rPr lang="en-US" sz="1400" dirty="0"/>
              <a:t> </a:t>
            </a:r>
            <a:r>
              <a:rPr lang="en-US" sz="1400" dirty="0" err="1"/>
              <a:t>tabel</a:t>
            </a:r>
            <a:r>
              <a:rPr lang="en-US" sz="1400" dirty="0"/>
              <a:t> ke-4, </a:t>
            </a:r>
            <a:r>
              <a:rPr lang="en-US" sz="1400" dirty="0" err="1"/>
              <a:t>berupa</a:t>
            </a:r>
            <a:r>
              <a:rPr lang="en-US" sz="1400" dirty="0"/>
              <a:t> </a:t>
            </a:r>
            <a:r>
              <a:rPr lang="en-US" sz="1400" dirty="0" err="1"/>
              <a:t>tabel</a:t>
            </a:r>
            <a:r>
              <a:rPr lang="en-US" sz="1400" dirty="0"/>
              <a:t> </a:t>
            </a:r>
            <a:r>
              <a:rPr lang="en-US" sz="1400" dirty="0" err="1"/>
              <a:t>rencana</a:t>
            </a:r>
            <a:r>
              <a:rPr lang="en-US" sz="1400" dirty="0"/>
              <a:t> </a:t>
            </a:r>
            <a:r>
              <a:rPr lang="en-US" sz="1400" dirty="0" err="1"/>
              <a:t>perkuliahan</a:t>
            </a:r>
            <a:r>
              <a:rPr lang="en-US" sz="1400" dirty="0"/>
              <a:t> semester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menggunakan</a:t>
            </a:r>
            <a:r>
              <a:rPr lang="en-US" sz="1400" dirty="0"/>
              <a:t> </a:t>
            </a:r>
            <a:r>
              <a:rPr lang="en-US" sz="1400" dirty="0" err="1"/>
              <a:t>kombinasi</a:t>
            </a:r>
            <a:r>
              <a:rPr lang="en-US" sz="1400" dirty="0"/>
              <a:t> </a:t>
            </a:r>
            <a:r>
              <a:rPr lang="en-US" sz="1400" dirty="0" err="1"/>
              <a:t>ketiga</a:t>
            </a:r>
            <a:r>
              <a:rPr lang="en-US" sz="1400" dirty="0"/>
              <a:t> </a:t>
            </a:r>
            <a:r>
              <a:rPr lang="en-US" sz="1400" dirty="0" err="1"/>
              <a:t>tabel</a:t>
            </a:r>
            <a:r>
              <a:rPr lang="en-US" sz="1400" dirty="0"/>
              <a:t> </a:t>
            </a:r>
            <a:r>
              <a:rPr lang="en-US" sz="1400" dirty="0" err="1"/>
              <a:t>tersebut</a:t>
            </a:r>
            <a:r>
              <a:rPr lang="en-US" sz="1400" dirty="0"/>
              <a:t> yang </a:t>
            </a:r>
            <a:r>
              <a:rPr lang="en-US" sz="1400" dirty="0" err="1"/>
              <a:t>bebas</a:t>
            </a:r>
            <a:r>
              <a:rPr lang="en-US" sz="1400" dirty="0"/>
              <a:t> </a:t>
            </a:r>
            <a:r>
              <a:rPr lang="en-US" sz="1400" dirty="0" err="1"/>
              <a:t>dari</a:t>
            </a:r>
            <a:r>
              <a:rPr lang="en-US" sz="1400" dirty="0"/>
              <a:t> </a:t>
            </a:r>
            <a:r>
              <a:rPr lang="en-US" sz="1400" dirty="0" err="1"/>
              <a:t>anomali</a:t>
            </a:r>
            <a:r>
              <a:rPr lang="en-US" sz="1400" dirty="0"/>
              <a:t> data (</a:t>
            </a:r>
            <a:r>
              <a:rPr lang="en-US" sz="1400" dirty="0" err="1"/>
              <a:t>inkonsistensi</a:t>
            </a:r>
            <a:r>
              <a:rPr lang="en-US" sz="1400" dirty="0"/>
              <a:t> data). (</a:t>
            </a:r>
            <a:r>
              <a:rPr lang="en-US" sz="1400" dirty="0" err="1"/>
              <a:t>pertimbangkan</a:t>
            </a:r>
            <a:r>
              <a:rPr lang="en-US" sz="1400" dirty="0"/>
              <a:t> </a:t>
            </a:r>
            <a:r>
              <a:rPr lang="en-US" sz="1400" dirty="0" err="1"/>
              <a:t>penggunaan</a:t>
            </a:r>
            <a:r>
              <a:rPr lang="en-US" sz="1400" dirty="0"/>
              <a:t> primary key dan foreign key</a:t>
            </a:r>
            <a:r>
              <a:rPr lang="en-US" sz="1400" b="0" i="0" dirty="0">
                <a:effectLst/>
              </a:rPr>
              <a:t>. </a:t>
            </a:r>
            <a:endParaRPr lang="en-US" sz="1400" dirty="0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35E3786-1A68-4A88-2181-9FCF09E3D7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016316"/>
              </p:ext>
            </p:extLst>
          </p:nvPr>
        </p:nvGraphicFramePr>
        <p:xfrm>
          <a:off x="788670" y="1274892"/>
          <a:ext cx="9978390" cy="345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9374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764036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233043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  <a:gridCol w="1600107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25086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  <a:gridCol w="1425484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425484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Lahir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6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kuliah</a:t>
                      </a:r>
                      <a:endParaRPr lang="en-US" sz="16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SKS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6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6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4165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498060-E400-0C5E-0FE2-29D8BC8C4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68A5DF-B027-BA96-464B-D12140EFB0BF}"/>
              </a:ext>
            </a:extLst>
          </p:cNvPr>
          <p:cNvSpPr txBox="1"/>
          <p:nvPr/>
        </p:nvSpPr>
        <p:spPr>
          <a:xfrm>
            <a:off x="5099420" y="214894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2C0C9FDA-ADAE-CA6C-4597-3EA03607CF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737212"/>
              </p:ext>
            </p:extLst>
          </p:nvPr>
        </p:nvGraphicFramePr>
        <p:xfrm>
          <a:off x="1978477" y="1192629"/>
          <a:ext cx="3483429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E1E7DFD-BCDA-90BC-DEDA-57EA70C50F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362049"/>
              </p:ext>
            </p:extLst>
          </p:nvPr>
        </p:nvGraphicFramePr>
        <p:xfrm>
          <a:off x="5461906" y="1194349"/>
          <a:ext cx="2322286" cy="3389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liah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F524B33-E085-A66F-98A2-C08212D7AC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141577"/>
              </p:ext>
            </p:extLst>
          </p:nvPr>
        </p:nvGraphicFramePr>
        <p:xfrm>
          <a:off x="7784192" y="1190908"/>
          <a:ext cx="232228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940B966-B43C-82F7-8359-CD6EB50CEA58}"/>
              </a:ext>
            </a:extLst>
          </p:cNvPr>
          <p:cNvSpPr txBox="1"/>
          <p:nvPr/>
        </p:nvSpPr>
        <p:spPr>
          <a:xfrm>
            <a:off x="1475241" y="2177054"/>
            <a:ext cx="26140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MAHASISW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F29FFC-82B0-641B-B725-1C72786C33FB}"/>
              </a:ext>
            </a:extLst>
          </p:cNvPr>
          <p:cNvSpPr txBox="1"/>
          <p:nvPr/>
        </p:nvSpPr>
        <p:spPr>
          <a:xfrm>
            <a:off x="5330642" y="794239"/>
            <a:ext cx="2584814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MATA KULIA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A300AF-B527-6622-98AD-79EDE09CFD81}"/>
              </a:ext>
            </a:extLst>
          </p:cNvPr>
          <p:cNvSpPr txBox="1"/>
          <p:nvPr/>
        </p:nvSpPr>
        <p:spPr>
          <a:xfrm>
            <a:off x="8854845" y="2168632"/>
            <a:ext cx="188126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DOSEN</a:t>
            </a:r>
          </a:p>
        </p:txBody>
      </p:sp>
    </p:spTree>
    <p:extLst>
      <p:ext uri="{BB962C8B-B14F-4D97-AF65-F5344CB8AC3E}">
        <p14:creationId xmlns:p14="http://schemas.microsoft.com/office/powerpoint/2010/main" val="234279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1" presetClass="path" presetSubtype="0" accel="50000" decel="5000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-0.06732 -0.02175 L -0.10729 0.04514 C -0.11627 0.05926 -0.12135 0.08033 -0.12135 0.10232 C -0.12135 0.12732 -0.11627 0.14723 -0.10729 0.16135 L -0.06732 0.22825 " pathEditMode="relative" rAng="0" ptsTypes="AAA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08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8550"/>
                            </p:stCondLst>
                            <p:childTnLst>
                              <p:par>
                                <p:cTn id="16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2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55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mph" presetSubtype="0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 rctx="PPT">
                                        <p:cTn id="3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4300"/>
                            </p:stCondLst>
                            <p:childTnLst>
                              <p:par>
                                <p:cTn id="34" presetID="58" presetClass="path" presetSubtype="0" accel="50000" decel="5000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0.06576 -0.02315 L 0.10573 0.04375 C 0.11471 0.05787 0.11979 0.07893 0.11979 0.10092 C 0.11979 0.12592 0.11471 0.14583 0.10573 0.15995 L 0.06576 0.22685 " pathEditMode="relative" rAng="0" ptsTypes="AAAAA">
                                      <p:cBhvr>
                                        <p:cTn id="3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5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3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mph" presetSubtype="0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 rctx="PPT">
                                        <p:cTn id="4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9" grpId="1"/>
      <p:bldP spid="10" grpId="0"/>
      <p:bldP spid="10" grpId="1"/>
      <p:bldP spid="11" grpId="0"/>
      <p:bldP spid="11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0CC072-FC18-E9EB-22BC-5477FD84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C5C1AF-E1B7-43A5-948C-4DCA71BBCEC4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2D3E7FCB-8CF2-6880-530C-0C43D2498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471811"/>
              </p:ext>
            </p:extLst>
          </p:nvPr>
        </p:nvGraphicFramePr>
        <p:xfrm>
          <a:off x="1925171" y="2276309"/>
          <a:ext cx="3483429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264E8E4-94B9-A580-9BF9-EF2551516474}"/>
              </a:ext>
            </a:extLst>
          </p:cNvPr>
          <p:cNvSpPr txBox="1"/>
          <p:nvPr/>
        </p:nvSpPr>
        <p:spPr>
          <a:xfrm>
            <a:off x="4626335" y="1267187"/>
            <a:ext cx="293933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MAHASISWA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2454CB07-000C-E8C7-9F0F-AFB10C029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062622"/>
              </p:ext>
            </p:extLst>
          </p:nvPr>
        </p:nvGraphicFramePr>
        <p:xfrm>
          <a:off x="4404212" y="2276309"/>
          <a:ext cx="1004388" cy="1548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CF29A76B-FE4C-FB95-E31D-8D0C53FAA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302453"/>
              </p:ext>
            </p:extLst>
          </p:nvPr>
        </p:nvGraphicFramePr>
        <p:xfrm>
          <a:off x="1925171" y="2276309"/>
          <a:ext cx="2479041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3A59CB64-60C7-1CB5-DFA4-51F56DE34EA1}"/>
              </a:ext>
            </a:extLst>
          </p:cNvPr>
          <p:cNvSpPr/>
          <p:nvPr/>
        </p:nvSpPr>
        <p:spPr>
          <a:xfrm>
            <a:off x="7063473" y="2030931"/>
            <a:ext cx="1004385" cy="1940942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DA6401-A270-AF2D-E9FE-BB5ECFAD116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204956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4CAE8C-D96A-8EF1-E67C-C21B931AA3EE}"/>
              </a:ext>
            </a:extLst>
          </p:cNvPr>
          <p:cNvGrpSpPr/>
          <p:nvPr/>
        </p:nvGrpSpPr>
        <p:grpSpPr>
          <a:xfrm>
            <a:off x="7689667" y="1669321"/>
            <a:ext cx="1646385" cy="361610"/>
            <a:chOff x="7689667" y="1669321"/>
            <a:chExt cx="1646385" cy="36161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2852776-FBF7-0EF0-9DEA-83C988C8B851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1DAB67A-D923-C2F1-E193-AA5FB6E22BD6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29478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8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44" presetClass="path" presetSubtype="0" accel="50000" decel="5000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Motion origin="layout" path="M -3.75E-6 -0.00278 L 0.05899 -0.04097 C 0.07123 -0.04954 0.08972 -0.05393 0.10925 -0.05393 C 0.13125 -0.05393 0.14896 -0.04954 0.1612 -0.04097 L 0.22058 -0.00278 " pathEditMode="relative" rAng="0" ptsTypes="AAAAA">
                                      <p:cBhvr>
                                        <p:cTn id="3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29" y="-25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83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44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4.79167E-6 -0.00162 L 0.13567 -0.04051 C 0.16393 -0.04931 0.20638 -0.05394 0.25091 -0.05394 C 0.30156 -0.05394 0.34218 -0.04931 0.37044 -0.04051 L 0.50625 -0.00162 " pathEditMode="relative" rAng="0" ptsTypes="AAAAA">
                                      <p:cBhvr>
                                        <p:cTn id="4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313" y="-26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1300"/>
                            </p:stCondLst>
                            <p:childTnLst>
                              <p:par>
                                <p:cTn id="45" presetID="21" presetClass="entr" presetSubtype="1" fill="hold" grpId="0" nodeType="afterEffect">
                                  <p:stCondLst>
                                    <p:cond delay="15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83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7" grpId="1"/>
      <p:bldP spid="10" grpId="0" animBg="1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0E3FA9-292D-6672-53C6-DB45B9D91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E2F401-613F-CC0C-5C73-B994FC100C82}"/>
              </a:ext>
            </a:extLst>
          </p:cNvPr>
          <p:cNvSpPr txBox="1"/>
          <p:nvPr/>
        </p:nvSpPr>
        <p:spPr>
          <a:xfrm>
            <a:off x="4787891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4548D8FE-B29A-A002-865F-4C375816A7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555931"/>
              </p:ext>
            </p:extLst>
          </p:nvPr>
        </p:nvGraphicFramePr>
        <p:xfrm>
          <a:off x="2465605" y="2199833"/>
          <a:ext cx="2322286" cy="3389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kuliah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478335C-303D-CE92-6457-46A9376E05BD}"/>
              </a:ext>
            </a:extLst>
          </p:cNvPr>
          <p:cNvSpPr txBox="1"/>
          <p:nvPr/>
        </p:nvSpPr>
        <p:spPr>
          <a:xfrm>
            <a:off x="4613913" y="1325200"/>
            <a:ext cx="296417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MATA KULIAH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CAB7EF4-F0C7-79B9-DD57-CE9BA1DC41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988711"/>
              </p:ext>
            </p:extLst>
          </p:nvPr>
        </p:nvGraphicFramePr>
        <p:xfrm>
          <a:off x="2465605" y="2219083"/>
          <a:ext cx="2322286" cy="1535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liah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CCFC9759-A087-686C-477C-FF89438A33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203980"/>
              </p:ext>
            </p:extLst>
          </p:nvPr>
        </p:nvGraphicFramePr>
        <p:xfrm>
          <a:off x="7207839" y="2220429"/>
          <a:ext cx="1004388" cy="15294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1689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d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kul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6C2FDA34-F5FF-CC1D-7683-4612DE7B7488}"/>
              </a:ext>
            </a:extLst>
          </p:cNvPr>
          <p:cNvSpPr/>
          <p:nvPr/>
        </p:nvSpPr>
        <p:spPr>
          <a:xfrm>
            <a:off x="7190068" y="2030931"/>
            <a:ext cx="933646" cy="1931918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99C002-DDAD-0070-02A5-E4FF351266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204956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CC3755-E084-732C-5267-6426EE72339B}"/>
              </a:ext>
            </a:extLst>
          </p:cNvPr>
          <p:cNvGrpSpPr/>
          <p:nvPr/>
        </p:nvGrpSpPr>
        <p:grpSpPr>
          <a:xfrm>
            <a:off x="7689667" y="1669321"/>
            <a:ext cx="1646385" cy="361610"/>
            <a:chOff x="7689667" y="1669321"/>
            <a:chExt cx="1646385" cy="36161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15074E4-5EF1-4E0C-A1C0-88AC7604AB97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A3C430-638C-FB46-85AB-EBBD80199D87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5763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2" presetClass="entr" presetSubtype="1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8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50"/>
                            </p:stCondLst>
                            <p:childTnLst>
                              <p:par>
                                <p:cTn id="31" presetID="2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44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16667E-6 3.33333E-6 L 0.12552 -0.01598 C 0.15169 -0.01945 0.19088 -0.0213 0.23216 -0.0213 C 0.27903 -0.0213 0.31653 -0.01945 0.3427 -0.01598 L 0.46836 3.33333E-6 " pathEditMode="relative" rAng="0" ptsTypes="AAAAA">
                                      <p:cBhvr>
                                        <p:cTn id="3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411" y="-10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550"/>
                            </p:stCondLst>
                            <p:childTnLst>
                              <p:par>
                                <p:cTn id="37" presetID="2" presetClass="entr" presetSubtype="8" fill="hold" nodeType="afterEffect">
                                  <p:stCondLst>
                                    <p:cond delay="17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800"/>
                            </p:stCondLst>
                            <p:childTnLst>
                              <p:par>
                                <p:cTn id="42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33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7" grpId="1"/>
      <p:bldP spid="10" grpId="0" animBg="1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536F4-7EED-4F36-5072-57C5025D4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2C3F2B-50D6-2C3F-724E-E9CE93967EFF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33F3FB-596F-B05C-DCE8-94F8C2A2070E}"/>
              </a:ext>
            </a:extLst>
          </p:cNvPr>
          <p:cNvSpPr txBox="1"/>
          <p:nvPr/>
        </p:nvSpPr>
        <p:spPr>
          <a:xfrm>
            <a:off x="4983716" y="1729919"/>
            <a:ext cx="222456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DOSEN</a:t>
            </a: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2AF05CA-0FE8-F262-0FFA-63677263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468001"/>
              </p:ext>
            </p:extLst>
          </p:nvPr>
        </p:nvGraphicFramePr>
        <p:xfrm>
          <a:off x="2183916" y="2457581"/>
          <a:ext cx="232228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A22A45C-8015-1903-ACBA-AFD8971A9D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89836"/>
              </p:ext>
            </p:extLst>
          </p:nvPr>
        </p:nvGraphicFramePr>
        <p:xfrm>
          <a:off x="7352477" y="2457581"/>
          <a:ext cx="1161143" cy="3372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D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4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6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7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8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DA9D29D4-A887-24B1-5314-4C6AA3780CF9}"/>
              </a:ext>
            </a:extLst>
          </p:cNvPr>
          <p:cNvSpPr/>
          <p:nvPr/>
        </p:nvSpPr>
        <p:spPr>
          <a:xfrm>
            <a:off x="7448727" y="2030931"/>
            <a:ext cx="944498" cy="3859730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C203DF-FD1B-CA10-B9DE-5A0A8A0E52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310831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5887F9-27AC-DB99-5F98-B6EC1AFE7C42}"/>
              </a:ext>
            </a:extLst>
          </p:cNvPr>
          <p:cNvGrpSpPr/>
          <p:nvPr/>
        </p:nvGrpSpPr>
        <p:grpSpPr>
          <a:xfrm>
            <a:off x="7901419" y="1669321"/>
            <a:ext cx="1646385" cy="361610"/>
            <a:chOff x="7689667" y="1669321"/>
            <a:chExt cx="1646385" cy="36161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989EE5-6B99-9CF0-0F4E-BD0798D96C0B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139D8A7-FD7C-C6E5-C632-BD5ABFC2761C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8251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44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3.33333E-6 L 0.13776 -0.08241 C 0.16641 -0.10093 0.2095 -0.11088 0.25469 -0.11088 C 0.30612 -0.11088 0.34727 -0.10093 0.37591 -0.08241 L 0.5138 3.33333E-6 " pathEditMode="relative" rAng="0" ptsTypes="AAAAA">
                                      <p:cBhvr>
                                        <p:cTn id="3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690" y="-55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3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550"/>
                            </p:stCondLst>
                            <p:childTnLst>
                              <p:par>
                                <p:cTn id="37" presetID="21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3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6" grpId="1"/>
      <p:bldP spid="9" grpId="0" animBg="1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3F2296-AA86-1C97-0546-139FF46C1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1D5BB-2155-71B6-66D4-215ABC977AA8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2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E21CF2-B943-4DCE-79B2-721D6716137C}"/>
              </a:ext>
            </a:extLst>
          </p:cNvPr>
          <p:cNvSpPr txBox="1"/>
          <p:nvPr/>
        </p:nvSpPr>
        <p:spPr>
          <a:xfrm>
            <a:off x="7766603" y="1729919"/>
            <a:ext cx="174461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R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56A678-989A-8B44-0DFC-46446A0C3E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10009" y="6401557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FOREIGN ke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8318D31-8B74-410A-947B-4D126967BD9A}"/>
              </a:ext>
            </a:extLst>
          </p:cNvPr>
          <p:cNvGrpSpPr/>
          <p:nvPr/>
        </p:nvGrpSpPr>
        <p:grpSpPr>
          <a:xfrm flipH="1" flipV="1">
            <a:off x="6771606" y="6138749"/>
            <a:ext cx="1646385" cy="361610"/>
            <a:chOff x="7689667" y="1669321"/>
            <a:chExt cx="1646385" cy="3616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733AB6F-83E0-B325-3EC2-5D1E30A9A078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AE7E4D8-E4B3-33FD-FB30-CEC3662C5A7C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id="{34605854-1FE3-64D6-5AC0-7803E33505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456549"/>
              </p:ext>
            </p:extLst>
          </p:nvPr>
        </p:nvGraphicFramePr>
        <p:xfrm>
          <a:off x="3346352" y="1701044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18EFA152-2FC7-33A4-27DA-FD63B5928C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252849"/>
              </p:ext>
            </p:extLst>
          </p:nvPr>
        </p:nvGraphicFramePr>
        <p:xfrm>
          <a:off x="1618710" y="3473279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d_Matkul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110E2761-F1C7-1AA0-5CD5-85B8FA63FA53}"/>
              </a:ext>
            </a:extLst>
          </p:cNvPr>
          <p:cNvSpPr/>
          <p:nvPr/>
        </p:nvSpPr>
        <p:spPr>
          <a:xfrm>
            <a:off x="6864800" y="2259364"/>
            <a:ext cx="3206365" cy="3859730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Table 4">
            <a:extLst>
              <a:ext uri="{FF2B5EF4-FFF2-40B4-BE49-F238E27FC236}">
                <a16:creationId xmlns:a16="http://schemas.microsoft.com/office/drawing/2014/main" id="{1E99E39A-4C33-16D2-12BA-4492CA43BF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941849"/>
              </p:ext>
            </p:extLst>
          </p:nvPr>
        </p:nvGraphicFramePr>
        <p:xfrm>
          <a:off x="3221412" y="1718177"/>
          <a:ext cx="1292838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838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MAHASISWA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PM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am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ngga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ahi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15" name="Table 4">
            <a:extLst>
              <a:ext uri="{FF2B5EF4-FFF2-40B4-BE49-F238E27FC236}">
                <a16:creationId xmlns:a16="http://schemas.microsoft.com/office/drawing/2014/main" id="{5AFE7111-F652-F71F-3FD9-B0175D01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891407"/>
              </p:ext>
            </p:extLst>
          </p:nvPr>
        </p:nvGraphicFramePr>
        <p:xfrm>
          <a:off x="1554262" y="3429000"/>
          <a:ext cx="1146571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571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MATA KULIAH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Id_Matkul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t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uliah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umlah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SKS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16" name="Table 4">
            <a:extLst>
              <a:ext uri="{FF2B5EF4-FFF2-40B4-BE49-F238E27FC236}">
                <a16:creationId xmlns:a16="http://schemas.microsoft.com/office/drawing/2014/main" id="{3F1C8BBD-205F-C3E0-2ED6-0B03646F87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565228"/>
              </p:ext>
            </p:extLst>
          </p:nvPr>
        </p:nvGraphicFramePr>
        <p:xfrm>
          <a:off x="3282639" y="4950080"/>
          <a:ext cx="1146571" cy="1451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571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DOSEN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ID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am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abata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cxnSp>
        <p:nvCxnSpPr>
          <p:cNvPr id="17" name="Connector: Elbow 2">
            <a:extLst>
              <a:ext uri="{FF2B5EF4-FFF2-40B4-BE49-F238E27FC236}">
                <a16:creationId xmlns:a16="http://schemas.microsoft.com/office/drawing/2014/main" id="{B1012B0F-1421-309D-56CC-285F43B90689}"/>
              </a:ext>
            </a:extLst>
          </p:cNvPr>
          <p:cNvCxnSpPr/>
          <p:nvPr/>
        </p:nvCxnSpPr>
        <p:spPr>
          <a:xfrm>
            <a:off x="4350740" y="2379643"/>
            <a:ext cx="2942426" cy="27432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4">
            <a:extLst>
              <a:ext uri="{FF2B5EF4-FFF2-40B4-BE49-F238E27FC236}">
                <a16:creationId xmlns:a16="http://schemas.microsoft.com/office/drawing/2014/main" id="{DA806E99-85B7-BA48-F121-871D10CB9EBA}"/>
              </a:ext>
            </a:extLst>
          </p:cNvPr>
          <p:cNvCxnSpPr/>
          <p:nvPr/>
        </p:nvCxnSpPr>
        <p:spPr>
          <a:xfrm flipV="1">
            <a:off x="2511846" y="2644048"/>
            <a:ext cx="5585552" cy="144321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6">
            <a:extLst>
              <a:ext uri="{FF2B5EF4-FFF2-40B4-BE49-F238E27FC236}">
                <a16:creationId xmlns:a16="http://schemas.microsoft.com/office/drawing/2014/main" id="{408830F5-3326-7E99-8A22-17E667C102AB}"/>
              </a:ext>
            </a:extLst>
          </p:cNvPr>
          <p:cNvCxnSpPr/>
          <p:nvPr/>
        </p:nvCxnSpPr>
        <p:spPr>
          <a:xfrm flipV="1">
            <a:off x="4010140" y="2644051"/>
            <a:ext cx="5029200" cy="283464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4">
            <a:extLst>
              <a:ext uri="{FF2B5EF4-FFF2-40B4-BE49-F238E27FC236}">
                <a16:creationId xmlns:a16="http://schemas.microsoft.com/office/drawing/2014/main" id="{BB59EAFD-2FD0-4CD6-F74F-46D6981A7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0153194"/>
              </p:ext>
            </p:extLst>
          </p:nvPr>
        </p:nvGraphicFramePr>
        <p:xfrm>
          <a:off x="3363828" y="5259872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D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4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6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7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8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1219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2" presetClass="entr" presetSubtype="8" fill="hold" nodeType="after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050"/>
                            </p:stCondLst>
                            <p:childTnLst>
                              <p:par>
                                <p:cTn id="18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550"/>
                            </p:stCondLst>
                            <p:childTnLst>
                              <p:par>
                                <p:cTn id="23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405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6550"/>
                            </p:stCondLst>
                            <p:childTnLst>
                              <p:par>
                                <p:cTn id="35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4597 0.11575 L 0.11303 0.15579 C 0.12696 0.16482 0.14792 0.16968 0.16993 0.16968 C 0.19493 0.16968 0.21498 0.16482 0.22891 0.15579 L 0.29597 0.11575 " pathEditMode="relative" rAng="0" ptsTypes="AAAAA">
                                      <p:cBhvr>
                                        <p:cTn id="3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90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1550"/>
                            </p:stCondLst>
                            <p:childTnLst>
                              <p:par>
                                <p:cTn id="45" presetID="44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547 -0.14306 L 0.1431 -0.21042 C 0.17174 -0.22546 0.21484 -0.23357 0.26015 -0.23357 C 0.31133 -0.23357 0.35273 -0.22546 0.38125 -0.21042 L 0.51927 -0.14306 " pathEditMode="relative" rAng="0" ptsTypes="AAA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690" y="-453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405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54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300"/>
                            </p:stCondLst>
                            <p:childTnLst>
                              <p:par>
                                <p:cTn id="57" presetID="21" presetClass="entr" presetSubtype="1" fill="hold" grpId="0" nodeType="after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33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4300"/>
                            </p:stCondLst>
                            <p:childTnLst>
                              <p:par>
                                <p:cTn id="6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300"/>
                            </p:stCondLst>
                            <p:childTnLst>
                              <p:par>
                                <p:cTn id="71" presetID="10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8800"/>
                            </p:stCondLst>
                            <p:childTnLst>
                              <p:par>
                                <p:cTn id="81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300"/>
                            </p:stCondLst>
                            <p:childTnLst>
                              <p:par>
                                <p:cTn id="86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1800"/>
                            </p:stCondLst>
                            <p:childTnLst>
                              <p:par>
                                <p:cTn id="91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33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1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5800"/>
                            </p:stCondLst>
                            <p:childTnLst>
                              <p:par>
                                <p:cTn id="103" presetID="43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0833E-6 3.7037E-6 L 0.22786 3.7037E-6 C 0.33021 3.7037E-6 0.45664 -0.11135 0.45664 -0.20162 L 0.45664 -0.40301 " pathEditMode="relative" rAng="0" ptsTypes="AAAA">
                                      <p:cBhvr>
                                        <p:cTn id="10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826" y="-20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6" grpId="1"/>
      <p:bldP spid="7" grpId="0"/>
      <p:bldP spid="7" grpId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7CFAA04-AD84-59F3-C274-6A6F904EF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Model basis dat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A22A83-9BFB-FDBB-DFF3-BC07D6320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914189" cy="4351338"/>
          </a:xfrm>
        </p:spPr>
        <p:txBody>
          <a:bodyPr>
            <a:normAutofit/>
          </a:bodyPr>
          <a:lstStyle/>
          <a:p>
            <a:r>
              <a:rPr lang="en-ID" b="0" i="0" dirty="0">
                <a:effectLst/>
              </a:rPr>
              <a:t>Model Basis Data </a:t>
            </a:r>
            <a:r>
              <a:rPr lang="en-ID" b="0" i="0" dirty="0" err="1">
                <a:effectLst/>
              </a:rPr>
              <a:t>adalah</a:t>
            </a:r>
            <a:r>
              <a:rPr lang="en-ID" b="0" i="0" dirty="0">
                <a:effectLst/>
              </a:rPr>
              <a:t> model yang </a:t>
            </a:r>
            <a:r>
              <a:rPr lang="en-ID" b="0" i="0" dirty="0" err="1">
                <a:effectLst/>
              </a:rPr>
              <a:t>digunakan</a:t>
            </a:r>
            <a:r>
              <a:rPr lang="en-ID" b="0" i="0" dirty="0">
                <a:effectLst/>
              </a:rPr>
              <a:t> </a:t>
            </a:r>
            <a:r>
              <a:rPr lang="en-ID" b="0" i="0" dirty="0" err="1">
                <a:effectLst/>
              </a:rPr>
              <a:t>dalam</a:t>
            </a:r>
            <a:r>
              <a:rPr lang="en-ID" b="0" i="0" dirty="0">
                <a:effectLst/>
              </a:rPr>
              <a:t> </a:t>
            </a:r>
            <a:r>
              <a:rPr lang="en-ID" b="0" i="0" dirty="0" err="1">
                <a:effectLst/>
              </a:rPr>
              <a:t>menjelaskan</a:t>
            </a:r>
            <a:r>
              <a:rPr lang="en-ID" b="0" i="0" dirty="0">
                <a:effectLst/>
              </a:rPr>
              <a:t> / </a:t>
            </a:r>
            <a:r>
              <a:rPr lang="en-ID" b="0" i="0" dirty="0" err="1">
                <a:effectLst/>
              </a:rPr>
              <a:t>menspesifikasikan</a:t>
            </a:r>
            <a:r>
              <a:rPr lang="en-ID" b="0" i="0" dirty="0">
                <a:effectLst/>
              </a:rPr>
              <a:t> </a:t>
            </a:r>
            <a:r>
              <a:rPr lang="en-ID" b="0" i="0" dirty="0" err="1">
                <a:effectLst/>
              </a:rPr>
              <a:t>bagaimana</a:t>
            </a:r>
            <a:r>
              <a:rPr lang="en-ID" b="0" i="0" dirty="0">
                <a:effectLst/>
              </a:rPr>
              <a:t> </a:t>
            </a:r>
            <a:r>
              <a:rPr lang="en-ID" b="0" i="0" dirty="0" err="1">
                <a:effectLst/>
              </a:rPr>
              <a:t>struktur</a:t>
            </a:r>
            <a:r>
              <a:rPr lang="en-ID" b="0" i="0" dirty="0">
                <a:effectLst/>
              </a:rPr>
              <a:t> basis data dan </a:t>
            </a:r>
            <a:r>
              <a:rPr lang="en-ID" b="0" i="0" dirty="0" err="1">
                <a:effectLst/>
              </a:rPr>
              <a:t>penggunaanya</a:t>
            </a:r>
            <a:r>
              <a:rPr lang="en-ID" b="0" i="0" dirty="0">
                <a:effectLst/>
              </a:rPr>
              <a:t>. </a:t>
            </a:r>
            <a:r>
              <a:rPr lang="en-ID" b="0" i="0" dirty="0" err="1">
                <a:effectLst/>
              </a:rPr>
              <a:t>Menurut</a:t>
            </a:r>
            <a:r>
              <a:rPr lang="en-ID" b="0" i="0" dirty="0">
                <a:effectLst/>
              </a:rPr>
              <a:t> Powel Ada </a:t>
            </a:r>
            <a:r>
              <a:rPr lang="en-ID" b="0" i="0" dirty="0" err="1">
                <a:effectLst/>
              </a:rPr>
              <a:t>beberapa</a:t>
            </a:r>
            <a:r>
              <a:rPr lang="en-ID" b="0" i="0" dirty="0">
                <a:effectLst/>
              </a:rPr>
              <a:t> model basis data</a:t>
            </a:r>
            <a:endParaRPr lang="en-US" dirty="0"/>
          </a:p>
        </p:txBody>
      </p:sp>
      <p:sp>
        <p:nvSpPr>
          <p:cNvPr id="2055" name="Slide Number Placeholder 3">
            <a:extLst>
              <a:ext uri="{FF2B5EF4-FFF2-40B4-BE49-F238E27FC236}">
                <a16:creationId xmlns:a16="http://schemas.microsoft.com/office/drawing/2014/main" id="{BB541046-2DA3-EEC1-B4F4-7284AC13E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/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/>
          </a:p>
        </p:txBody>
      </p:sp>
      <p:pic>
        <p:nvPicPr>
          <p:cNvPr id="2050" name="Picture 2" descr="Model basis data (Powell, 2006)">
            <a:extLst>
              <a:ext uri="{FF2B5EF4-FFF2-40B4-BE49-F238E27FC236}">
                <a16:creationId xmlns:a16="http://schemas.microsoft.com/office/drawing/2014/main" id="{CF0288DA-2AD2-C348-1741-CADFFE6F98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/>
          <a:stretch/>
        </p:blipFill>
        <p:spPr bwMode="auto">
          <a:xfrm>
            <a:off x="5455212" y="988536"/>
            <a:ext cx="4884848" cy="4884848"/>
          </a:xfrm>
          <a:prstGeom prst="ellipse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682587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66451C-C702-081E-4798-C6BF1EAF9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686698-AF94-A801-F731-1462C1D258BA}"/>
              </a:ext>
            </a:extLst>
          </p:cNvPr>
          <p:cNvSpPr txBox="1"/>
          <p:nvPr/>
        </p:nvSpPr>
        <p:spPr>
          <a:xfrm>
            <a:off x="3837620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LAPORAN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6CBFA755-B0CB-7A4B-703F-D4AA21C9F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053236"/>
              </p:ext>
            </p:extLst>
          </p:nvPr>
        </p:nvGraphicFramePr>
        <p:xfrm>
          <a:off x="2602334" y="1890909"/>
          <a:ext cx="6987332" cy="357632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221253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683899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527417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194036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  <a:gridCol w="1360727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PM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ama </a:t>
                      </a:r>
                      <a:r>
                        <a:rPr lang="en-US" sz="2000" dirty="0" err="1">
                          <a:effectLst/>
                        </a:rPr>
                        <a:t>Mahasiswa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ata kuliah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Jumlah</a:t>
                      </a:r>
                      <a:r>
                        <a:rPr lang="en-US" sz="2000" dirty="0">
                          <a:effectLst/>
                        </a:rPr>
                        <a:t> SKS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gama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1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kuntansi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2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gama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gama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6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kuntansi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7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8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372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3D24E3-7D9A-01EA-E293-271B1F3FA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06A52-D4B3-08BC-EF12-2B054A28E5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l"/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Ada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ungki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gun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isnis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ci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proses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pertama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dala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nfo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hingg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catat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caku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lam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agih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omo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lepo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nta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lain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bit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tri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d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i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ndi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beri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i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unc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baris. Di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catat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yert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laku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pes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jumla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kur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warn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pili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erus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tap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u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ta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nta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</a:t>
            </a:r>
          </a:p>
          <a:p>
            <a:pPr algn="l"/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ha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ilik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at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sam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: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unc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u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aren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mu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rse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relasiona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bu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hubun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ntar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mudi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tik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plik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roses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rusah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irim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tabase,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uj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ambi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ena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ntang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gun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rse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ca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agih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la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nfo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Gud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mudi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ari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ena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eri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wakt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rusah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eri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bayar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</a:t>
            </a:r>
          </a:p>
          <a:p>
            <a:pPr algn="l"/>
            <a:r>
              <a:rPr lang="en-ID" dirty="0" err="1">
                <a:solidFill>
                  <a:srgbClr val="161513"/>
                </a:solidFill>
                <a:latin typeface="OracleSansVF"/>
              </a:rPr>
              <a:t>Gambarkan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kasus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tersebut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dalam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bentuk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table data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relasional</a:t>
            </a:r>
            <a:endParaRPr lang="en-ID" b="0" i="0" dirty="0">
              <a:solidFill>
                <a:srgbClr val="161513"/>
              </a:solidFill>
              <a:effectLst/>
              <a:latin typeface="OracleSansVF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B393AD-DA18-04CD-0570-EC95DB0E7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al</a:t>
            </a:r>
            <a:r>
              <a:rPr lang="en-US" dirty="0"/>
              <a:t> Latihan</a:t>
            </a:r>
          </a:p>
        </p:txBody>
      </p:sp>
    </p:spTree>
    <p:extLst>
      <p:ext uri="{BB962C8B-B14F-4D97-AF65-F5344CB8AC3E}">
        <p14:creationId xmlns:p14="http://schemas.microsoft.com/office/powerpoint/2010/main" val="2080531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logo of a building&#10;&#10;Description automatically generated">
            <a:extLst>
              <a:ext uri="{FF2B5EF4-FFF2-40B4-BE49-F238E27FC236}">
                <a16:creationId xmlns:a16="http://schemas.microsoft.com/office/drawing/2014/main" id="{4ACCE03E-2AD9-A171-A93F-725853B00A7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12740" r="12262" b="3"/>
          <a:stretch/>
        </p:blipFill>
        <p:spPr>
          <a:xfrm>
            <a:off x="710812" y="728545"/>
            <a:ext cx="5305661" cy="5305661"/>
          </a:xfrm>
          <a:noFill/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E3C40962-BA6A-43E4-97BA-511A9B90CF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02130" y="4484691"/>
            <a:ext cx="4540440" cy="503167"/>
          </a:xfrm>
        </p:spPr>
        <p:txBody>
          <a:bodyPr>
            <a:normAutofit/>
          </a:bodyPr>
          <a:lstStyle/>
          <a:p>
            <a:r>
              <a:rPr lang="en-US" dirty="0"/>
              <a:t> +62 (0341) 404424 – 4044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FDFFBF-E125-47CF-AAE0-ACC45013CE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02320" y="5012635"/>
            <a:ext cx="4533900" cy="503238"/>
          </a:xfrm>
        </p:spPr>
        <p:txBody>
          <a:bodyPr>
            <a:normAutofit/>
          </a:bodyPr>
          <a:lstStyle/>
          <a:p>
            <a:r>
              <a:rPr lang="en-US" dirty="0"/>
              <a:t>https://jti.polinema.ac.id/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5D612B9-68B9-4C9F-98FE-CEE07DB1F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158641"/>
            <a:ext cx="5011410" cy="92180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124779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50832-0B36-43C5-98EC-4CD165D78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3650" y="2173288"/>
            <a:ext cx="5143500" cy="2090808"/>
          </a:xfrm>
        </p:spPr>
        <p:txBody>
          <a:bodyPr anchor="b">
            <a:normAutofit/>
          </a:bodyPr>
          <a:lstStyle/>
          <a:p>
            <a:r>
              <a:rPr lang="en-US" sz="4200" err="1"/>
              <a:t>Penemu</a:t>
            </a:r>
            <a:r>
              <a:rPr lang="en-US" sz="4200"/>
              <a:t> model data </a:t>
            </a:r>
            <a:r>
              <a:rPr lang="en-US" sz="4200" err="1"/>
              <a:t>relasional</a:t>
            </a:r>
            <a:br>
              <a:rPr lang="en-US" sz="4200"/>
            </a:br>
            <a:endParaRPr lang="en-US" sz="42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2A9C73-06ED-419B-81B5-491CBFC223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500"/>
              <a:t>Model database </a:t>
            </a:r>
            <a:r>
              <a:rPr lang="en-US" sz="1500" err="1"/>
              <a:t>relasional</a:t>
            </a:r>
            <a:r>
              <a:rPr lang="en-US" sz="1500"/>
              <a:t> </a:t>
            </a:r>
            <a:r>
              <a:rPr lang="en-US" sz="1500" err="1"/>
              <a:t>pertama</a:t>
            </a:r>
            <a:r>
              <a:rPr lang="en-US" sz="1500"/>
              <a:t> kali </a:t>
            </a:r>
            <a:r>
              <a:rPr lang="en-US" sz="1500" err="1"/>
              <a:t>dirumuskan</a:t>
            </a:r>
            <a:r>
              <a:rPr lang="en-US" sz="1500"/>
              <a:t> dan di </a:t>
            </a:r>
            <a:r>
              <a:rPr lang="en-US" sz="1500" err="1"/>
              <a:t>kemukakan</a:t>
            </a:r>
            <a:r>
              <a:rPr lang="en-US" sz="1500"/>
              <a:t> oleh </a:t>
            </a:r>
            <a:r>
              <a:rPr lang="en-US" sz="1500" err="1"/>
              <a:t>edgar</a:t>
            </a:r>
            <a:r>
              <a:rPr lang="en-US" sz="1500"/>
              <a:t> </a:t>
            </a:r>
            <a:r>
              <a:rPr lang="en-US" sz="1500" err="1"/>
              <a:t>F.Codd</a:t>
            </a:r>
            <a:r>
              <a:rPr lang="en-US" sz="1500"/>
              <a:t> pada </a:t>
            </a:r>
            <a:r>
              <a:rPr lang="en-US" sz="1500" err="1"/>
              <a:t>tahun</a:t>
            </a:r>
            <a:r>
              <a:rPr lang="en-US" sz="1500"/>
              <a:t> 1965</a:t>
            </a:r>
          </a:p>
          <a:p>
            <a:pPr marL="0" indent="0">
              <a:buNone/>
            </a:pPr>
            <a:endParaRPr lang="en-US" sz="1500"/>
          </a:p>
        </p:txBody>
      </p:sp>
      <p:pic>
        <p:nvPicPr>
          <p:cNvPr id="1028" name="Picture 4" descr="Edgar F. Codd - Wikipedia">
            <a:extLst>
              <a:ext uri="{FF2B5EF4-FFF2-40B4-BE49-F238E27FC236}">
                <a16:creationId xmlns:a16="http://schemas.microsoft.com/office/drawing/2014/main" id="{6D865EE1-211C-891B-F216-6B1AD2800E5D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34" r="-1" b="14832"/>
          <a:stretch/>
        </p:blipFill>
        <p:spPr bwMode="auto">
          <a:xfrm>
            <a:off x="710812" y="728545"/>
            <a:ext cx="5305661" cy="530566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3B5C6BAC-F3F8-4AA0-B332-02F66357132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63696" y="6455739"/>
            <a:ext cx="294460" cy="187367"/>
          </a:xfrm>
        </p:spPr>
        <p:txBody>
          <a:bodyPr/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561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A9A18-93E0-4615-B7AA-B8C8FBB14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pa</a:t>
            </a:r>
            <a:r>
              <a:rPr lang="en-US" dirty="0"/>
              <a:t> </a:t>
            </a:r>
            <a:r>
              <a:rPr lang="en-US" dirty="0" err="1"/>
              <a:t>itu</a:t>
            </a:r>
            <a:r>
              <a:rPr lang="en-US" dirty="0"/>
              <a:t> Basis data </a:t>
            </a:r>
            <a:r>
              <a:rPr lang="en-US" dirty="0" err="1"/>
              <a:t>relasional</a:t>
            </a:r>
            <a:r>
              <a:rPr lang="en-US" dirty="0"/>
              <a:t>?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1B32C0-5E61-447F-9557-57AF415D6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151027" cy="4351338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Basis Data </a:t>
            </a:r>
            <a:r>
              <a:rPr lang="en-US" sz="1800" dirty="0" err="1"/>
              <a:t>Relasional</a:t>
            </a:r>
            <a:r>
              <a:rPr lang="en-US" sz="1800" dirty="0"/>
              <a:t> </a:t>
            </a:r>
            <a:r>
              <a:rPr lang="en-US" sz="1800" dirty="0" err="1"/>
              <a:t>adalah</a:t>
            </a:r>
            <a:r>
              <a:rPr lang="en-US" sz="1800" dirty="0"/>
              <a:t> </a:t>
            </a:r>
            <a:r>
              <a:rPr lang="en-US" sz="1800" dirty="0" err="1"/>
              <a:t>kumpulan</a:t>
            </a:r>
            <a:r>
              <a:rPr lang="en-US" sz="1800" dirty="0"/>
              <a:t> item data </a:t>
            </a:r>
            <a:r>
              <a:rPr lang="en-US" sz="1800" dirty="0" err="1"/>
              <a:t>dengan</a:t>
            </a:r>
            <a:r>
              <a:rPr lang="en-US" sz="1800" dirty="0"/>
              <a:t> </a:t>
            </a:r>
            <a:r>
              <a:rPr lang="en-US" sz="1800" dirty="0" err="1"/>
              <a:t>hubungan</a:t>
            </a:r>
            <a:r>
              <a:rPr lang="en-US" sz="1800" dirty="0"/>
              <a:t> yang </a:t>
            </a:r>
            <a:r>
              <a:rPr lang="en-US" sz="1800" dirty="0" err="1"/>
              <a:t>telah</a:t>
            </a:r>
            <a:r>
              <a:rPr lang="en-US" sz="1800" dirty="0"/>
              <a:t> </a:t>
            </a:r>
            <a:r>
              <a:rPr lang="en-US" sz="1800" dirty="0" err="1"/>
              <a:t>ditentukan</a:t>
            </a:r>
            <a:r>
              <a:rPr lang="en-US" sz="1800" dirty="0"/>
              <a:t> </a:t>
            </a:r>
            <a:r>
              <a:rPr lang="en-US" sz="1800" dirty="0" err="1"/>
              <a:t>sebelumnya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DBFEE-BC50-46CF-AB8F-D145B99B5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730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592445"/>
          </a:xfrm>
        </p:spPr>
        <p:txBody>
          <a:bodyPr/>
          <a:lstStyle/>
          <a:p>
            <a:r>
              <a:rPr lang="en-US" dirty="0" err="1"/>
              <a:t>Conto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9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8DD9B24-A818-86FE-7830-4314C2B6DB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47177"/>
              </p:ext>
            </p:extLst>
          </p:nvPr>
        </p:nvGraphicFramePr>
        <p:xfrm>
          <a:off x="515938" y="1458861"/>
          <a:ext cx="316360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311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1912291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kripsi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mrogram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116391E-1176-0F71-B93C-38AF681D2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8086910"/>
              </p:ext>
            </p:extLst>
          </p:nvPr>
        </p:nvGraphicFramePr>
        <p:xfrm>
          <a:off x="219583" y="3306314"/>
          <a:ext cx="4665238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2849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837806">
                  <a:extLst>
                    <a:ext uri="{9D8B030D-6E8A-4147-A177-3AD203B41FA5}">
                      <a16:colId xmlns:a16="http://schemas.microsoft.com/office/drawing/2014/main" val="3452400586"/>
                    </a:ext>
                  </a:extLst>
                </a:gridCol>
                <a:gridCol w="2764583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udul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elaja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873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r>
                        <a:rPr lang="en-US" sz="1400" dirty="0"/>
                        <a:t> dan </a:t>
                      </a:r>
                      <a:r>
                        <a:rPr lang="en-US" sz="1400" dirty="0" err="1"/>
                        <a:t>Jaringan</a:t>
                      </a:r>
                      <a:r>
                        <a:rPr lang="en-US" sz="1400" dirty="0"/>
                        <a:t> Das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6308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Implementasi</a:t>
                      </a:r>
                      <a:r>
                        <a:rPr lang="en-US" sz="1400" dirty="0"/>
                        <a:t> SPK </a:t>
                      </a:r>
                      <a:r>
                        <a:rPr lang="en-US" sz="1400" dirty="0" err="1"/>
                        <a:t>untuk</a:t>
                      </a:r>
                      <a:r>
                        <a:rPr lang="en-US" sz="1400" dirty="0"/>
                        <a:t>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806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ramal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arang</a:t>
                      </a:r>
                      <a:r>
                        <a:rPr lang="en-US" sz="1400" dirty="0"/>
                        <a:t> XYS 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a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T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837978E-65B0-539F-1C96-E2CA02202E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948692"/>
              </p:ext>
            </p:extLst>
          </p:nvPr>
        </p:nvGraphicFramePr>
        <p:xfrm>
          <a:off x="5238285" y="782285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280965B-CEB7-1E81-C51F-5B4C39446C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069507"/>
              </p:ext>
            </p:extLst>
          </p:nvPr>
        </p:nvGraphicFramePr>
        <p:xfrm>
          <a:off x="5063204" y="3472389"/>
          <a:ext cx="683653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7153">
                  <a:extLst>
                    <a:ext uri="{9D8B030D-6E8A-4147-A177-3AD203B41FA5}">
                      <a16:colId xmlns:a16="http://schemas.microsoft.com/office/drawing/2014/main" val="2755304946"/>
                    </a:ext>
                  </a:extLst>
                </a:gridCol>
                <a:gridCol w="1299410">
                  <a:extLst>
                    <a:ext uri="{9D8B030D-6E8A-4147-A177-3AD203B41FA5}">
                      <a16:colId xmlns:a16="http://schemas.microsoft.com/office/drawing/2014/main" val="3442484018"/>
                    </a:ext>
                  </a:extLst>
                </a:gridCol>
                <a:gridCol w="1118937">
                  <a:extLst>
                    <a:ext uri="{9D8B030D-6E8A-4147-A177-3AD203B41FA5}">
                      <a16:colId xmlns:a16="http://schemas.microsoft.com/office/drawing/2014/main" val="3629014885"/>
                    </a:ext>
                  </a:extLst>
                </a:gridCol>
                <a:gridCol w="1106906">
                  <a:extLst>
                    <a:ext uri="{9D8B030D-6E8A-4147-A177-3AD203B41FA5}">
                      <a16:colId xmlns:a16="http://schemas.microsoft.com/office/drawing/2014/main" val="1967965169"/>
                    </a:ext>
                  </a:extLst>
                </a:gridCol>
                <a:gridCol w="1431757">
                  <a:extLst>
                    <a:ext uri="{9D8B030D-6E8A-4147-A177-3AD203B41FA5}">
                      <a16:colId xmlns:a16="http://schemas.microsoft.com/office/drawing/2014/main" val="3385970404"/>
                    </a:ext>
                  </a:extLst>
                </a:gridCol>
                <a:gridCol w="902369">
                  <a:extLst>
                    <a:ext uri="{9D8B030D-6E8A-4147-A177-3AD203B41FA5}">
                      <a16:colId xmlns:a16="http://schemas.microsoft.com/office/drawing/2014/main" val="143950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d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Kemb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end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638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2837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630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319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524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3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8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60311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BE7D29B-F159-3035-6388-2FEAFFEB7CA6}"/>
              </a:ext>
            </a:extLst>
          </p:cNvPr>
          <p:cNvSpPr txBox="1"/>
          <p:nvPr/>
        </p:nvSpPr>
        <p:spPr>
          <a:xfrm>
            <a:off x="515938" y="1089529"/>
            <a:ext cx="961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Kategori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F617AF-B5D0-A31F-178F-596E82D3C50D}"/>
              </a:ext>
            </a:extLst>
          </p:cNvPr>
          <p:cNvSpPr txBox="1"/>
          <p:nvPr/>
        </p:nvSpPr>
        <p:spPr>
          <a:xfrm>
            <a:off x="219583" y="2936982"/>
            <a:ext cx="654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uku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A24E19-9F1B-8CDF-A652-9CEBD2AF4308}"/>
              </a:ext>
            </a:extLst>
          </p:cNvPr>
          <p:cNvSpPr txBox="1"/>
          <p:nvPr/>
        </p:nvSpPr>
        <p:spPr>
          <a:xfrm>
            <a:off x="5238285" y="329787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EAFE78-C755-2127-90FE-3CB241B5C961}"/>
              </a:ext>
            </a:extLst>
          </p:cNvPr>
          <p:cNvSpPr txBox="1"/>
          <p:nvPr/>
        </p:nvSpPr>
        <p:spPr>
          <a:xfrm>
            <a:off x="5063204" y="3059668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injam</a:t>
            </a:r>
            <a:endParaRPr lang="en-US" dirty="0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FEDE44AC-B4A9-7B40-3C6B-455269FB9612}"/>
              </a:ext>
            </a:extLst>
          </p:cNvPr>
          <p:cNvSpPr/>
          <p:nvPr/>
        </p:nvSpPr>
        <p:spPr>
          <a:xfrm>
            <a:off x="2490537" y="2936982"/>
            <a:ext cx="288758" cy="369332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wn Arrow 14">
            <a:extLst>
              <a:ext uri="{FF2B5EF4-FFF2-40B4-BE49-F238E27FC236}">
                <a16:creationId xmlns:a16="http://schemas.microsoft.com/office/drawing/2014/main" id="{7BA722CC-5186-4B8D-FEDE-64653061BBF7}"/>
              </a:ext>
            </a:extLst>
          </p:cNvPr>
          <p:cNvSpPr/>
          <p:nvPr/>
        </p:nvSpPr>
        <p:spPr>
          <a:xfrm>
            <a:off x="7928811" y="2809205"/>
            <a:ext cx="300789" cy="663184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18FC6A65-8CB7-9418-3C00-14E6E94DBA58}"/>
              </a:ext>
            </a:extLst>
          </p:cNvPr>
          <p:cNvSpPr/>
          <p:nvPr/>
        </p:nvSpPr>
        <p:spPr>
          <a:xfrm>
            <a:off x="4415589" y="4692316"/>
            <a:ext cx="647615" cy="25266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56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D3F9C9-E45F-96D2-DD39-779BBA443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4210959B-3400-2BF3-2FB9-DCA10E02AD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834" y="632929"/>
            <a:ext cx="10837862" cy="1603375"/>
          </a:xfrm>
        </p:spPr>
        <p:txBody>
          <a:bodyPr/>
          <a:lstStyle/>
          <a:p>
            <a:r>
              <a:rPr lang="en-US" dirty="0" err="1"/>
              <a:t>Berbagai</a:t>
            </a:r>
            <a:r>
              <a:rPr lang="en-US" dirty="0"/>
              <a:t> item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disusun</a:t>
            </a:r>
            <a:r>
              <a:rPr lang="en-US" dirty="0"/>
              <a:t> </a:t>
            </a:r>
            <a:r>
              <a:rPr lang="en-US" dirty="0" err="1"/>
              <a:t>menjad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set table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kolom</a:t>
            </a:r>
            <a:r>
              <a:rPr lang="en-US" dirty="0"/>
              <a:t> dan baris</a:t>
            </a:r>
          </a:p>
          <a:p>
            <a:r>
              <a:rPr lang="en-US" dirty="0" err="1"/>
              <a:t>Tabel</a:t>
            </a:r>
            <a:r>
              <a:rPr lang="en-US" dirty="0"/>
              <a:t> </a:t>
            </a:r>
            <a:r>
              <a:rPr lang="en-US" dirty="0" err="1"/>
              <a:t>digunakan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nyimpan</a:t>
            </a:r>
            <a:r>
              <a:rPr lang="en-US" dirty="0"/>
              <a:t> </a:t>
            </a:r>
            <a:r>
              <a:rPr lang="en-US" dirty="0" err="1"/>
              <a:t>informasi</a:t>
            </a:r>
            <a:r>
              <a:rPr lang="en-US" dirty="0"/>
              <a:t> </a:t>
            </a:r>
            <a:r>
              <a:rPr lang="en-US" dirty="0" err="1"/>
              <a:t>tentang</a:t>
            </a:r>
            <a:r>
              <a:rPr lang="en-US" dirty="0"/>
              <a:t> </a:t>
            </a:r>
            <a:r>
              <a:rPr lang="en-US" dirty="0" err="1"/>
              <a:t>objek</a:t>
            </a:r>
            <a:r>
              <a:rPr lang="en-US" dirty="0"/>
              <a:t> yang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representasi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datab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1A6655-D0E6-B1AD-49C2-BBBF13F4117F}"/>
              </a:ext>
            </a:extLst>
          </p:cNvPr>
          <p:cNvSpPr txBox="1"/>
          <p:nvPr/>
        </p:nvSpPr>
        <p:spPr>
          <a:xfrm>
            <a:off x="2883269" y="2209659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9B6A4D-8AC1-C8E1-B57D-3EF7A0C00EF6}"/>
              </a:ext>
            </a:extLst>
          </p:cNvPr>
          <p:cNvSpPr txBox="1"/>
          <p:nvPr/>
        </p:nvSpPr>
        <p:spPr>
          <a:xfrm>
            <a:off x="635904" y="2891264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1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0764B31-4898-66EB-D4D2-62D40C690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218026"/>
              </p:ext>
            </p:extLst>
          </p:nvPr>
        </p:nvGraphicFramePr>
        <p:xfrm>
          <a:off x="2894091" y="2594777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868B80E-CC56-4A3D-C166-6FDE908EC062}"/>
              </a:ext>
            </a:extLst>
          </p:cNvPr>
          <p:cNvSpPr txBox="1"/>
          <p:nvPr/>
        </p:nvSpPr>
        <p:spPr>
          <a:xfrm>
            <a:off x="635903" y="3210630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F9FE95-1395-9437-1BDC-9329BC9ADE13}"/>
              </a:ext>
            </a:extLst>
          </p:cNvPr>
          <p:cNvSpPr txBox="1"/>
          <p:nvPr/>
        </p:nvSpPr>
        <p:spPr>
          <a:xfrm>
            <a:off x="635902" y="3602039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82529-3AFB-5EEE-1B49-B13F74B3D8F4}"/>
              </a:ext>
            </a:extLst>
          </p:cNvPr>
          <p:cNvSpPr txBox="1"/>
          <p:nvPr/>
        </p:nvSpPr>
        <p:spPr>
          <a:xfrm>
            <a:off x="635901" y="400004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13A3A6-529B-CF6E-BC12-516B390B5DBD}"/>
              </a:ext>
            </a:extLst>
          </p:cNvPr>
          <p:cNvSpPr txBox="1"/>
          <p:nvPr/>
        </p:nvSpPr>
        <p:spPr>
          <a:xfrm>
            <a:off x="635901" y="4331010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5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A2B86757-5FFA-F78C-F18D-F6339EC47B10}"/>
              </a:ext>
            </a:extLst>
          </p:cNvPr>
          <p:cNvSpPr/>
          <p:nvPr/>
        </p:nvSpPr>
        <p:spPr>
          <a:xfrm>
            <a:off x="1465513" y="307149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79FC6479-E762-F8F7-843C-D016691E3C6F}"/>
              </a:ext>
            </a:extLst>
          </p:cNvPr>
          <p:cNvSpPr/>
          <p:nvPr/>
        </p:nvSpPr>
        <p:spPr>
          <a:xfrm>
            <a:off x="1465513" y="337587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20010662-E171-B31D-3161-0F753925B1B3}"/>
              </a:ext>
            </a:extLst>
          </p:cNvPr>
          <p:cNvSpPr/>
          <p:nvPr/>
        </p:nvSpPr>
        <p:spPr>
          <a:xfrm>
            <a:off x="1448946" y="3793304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0EEEB2C0-C1DB-3296-C9F6-A399B90AEDFA}"/>
              </a:ext>
            </a:extLst>
          </p:cNvPr>
          <p:cNvSpPr/>
          <p:nvPr/>
        </p:nvSpPr>
        <p:spPr>
          <a:xfrm>
            <a:off x="1465513" y="4186649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DEF1DF1C-350A-DF49-34C0-9DBEF657A223}"/>
              </a:ext>
            </a:extLst>
          </p:cNvPr>
          <p:cNvSpPr/>
          <p:nvPr/>
        </p:nvSpPr>
        <p:spPr>
          <a:xfrm>
            <a:off x="1465513" y="447374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985F32-2EA5-5019-B80D-10E812060AB5}"/>
              </a:ext>
            </a:extLst>
          </p:cNvPr>
          <p:cNvSpPr txBox="1"/>
          <p:nvPr/>
        </p:nvSpPr>
        <p:spPr>
          <a:xfrm>
            <a:off x="30475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EBCA7F-8433-FB04-1089-E91F4389A01A}"/>
              </a:ext>
            </a:extLst>
          </p:cNvPr>
          <p:cNvSpPr txBox="1"/>
          <p:nvPr/>
        </p:nvSpPr>
        <p:spPr>
          <a:xfrm>
            <a:off x="46096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8941ED-2BEE-2144-7CAB-A232765DE897}"/>
              </a:ext>
            </a:extLst>
          </p:cNvPr>
          <p:cNvSpPr txBox="1"/>
          <p:nvPr/>
        </p:nvSpPr>
        <p:spPr>
          <a:xfrm>
            <a:off x="64511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938B227-E33E-5C15-F688-05C17C21A4E7}"/>
              </a:ext>
            </a:extLst>
          </p:cNvPr>
          <p:cNvSpPr txBox="1"/>
          <p:nvPr/>
        </p:nvSpPr>
        <p:spPr>
          <a:xfrm>
            <a:off x="79370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4</a:t>
            </a:r>
          </a:p>
        </p:txBody>
      </p:sp>
      <p:sp>
        <p:nvSpPr>
          <p:cNvPr id="32" name="Up Arrow 31">
            <a:extLst>
              <a:ext uri="{FF2B5EF4-FFF2-40B4-BE49-F238E27FC236}">
                <a16:creationId xmlns:a16="http://schemas.microsoft.com/office/drawing/2014/main" id="{EB38DA1F-7A08-BD75-B6DD-13FCD1354E02}"/>
              </a:ext>
            </a:extLst>
          </p:cNvPr>
          <p:cNvSpPr/>
          <p:nvPr/>
        </p:nvSpPr>
        <p:spPr>
          <a:xfrm>
            <a:off x="3365580" y="4659797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Up Arrow 32">
            <a:extLst>
              <a:ext uri="{FF2B5EF4-FFF2-40B4-BE49-F238E27FC236}">
                <a16:creationId xmlns:a16="http://schemas.microsoft.com/office/drawing/2014/main" id="{CA9852F2-F0F7-2BFC-7318-3FBDBDBDF97E}"/>
              </a:ext>
            </a:extLst>
          </p:cNvPr>
          <p:cNvSpPr/>
          <p:nvPr/>
        </p:nvSpPr>
        <p:spPr>
          <a:xfrm>
            <a:off x="5006550" y="4659797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Up Arrow 33">
            <a:extLst>
              <a:ext uri="{FF2B5EF4-FFF2-40B4-BE49-F238E27FC236}">
                <a16:creationId xmlns:a16="http://schemas.microsoft.com/office/drawing/2014/main" id="{B9E4BADC-56E4-795C-EE4E-D2BB706E284A}"/>
              </a:ext>
            </a:extLst>
          </p:cNvPr>
          <p:cNvSpPr/>
          <p:nvPr/>
        </p:nvSpPr>
        <p:spPr>
          <a:xfrm>
            <a:off x="6759762" y="4697622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Up Arrow 34">
            <a:extLst>
              <a:ext uri="{FF2B5EF4-FFF2-40B4-BE49-F238E27FC236}">
                <a16:creationId xmlns:a16="http://schemas.microsoft.com/office/drawing/2014/main" id="{2236708C-6188-A15A-E473-F750EE61F9CC}"/>
              </a:ext>
            </a:extLst>
          </p:cNvPr>
          <p:cNvSpPr/>
          <p:nvPr/>
        </p:nvSpPr>
        <p:spPr>
          <a:xfrm>
            <a:off x="8292649" y="4680586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013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029253-15A2-E1C2-0255-D8F1A3C4C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F1F2D-B2E4-7007-EA49-476D48480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104" y="782285"/>
            <a:ext cx="4294833" cy="3007632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Baris pada table </a:t>
            </a:r>
            <a:r>
              <a:rPr lang="en-US" dirty="0" err="1"/>
              <a:t>merepresentasikan</a:t>
            </a:r>
            <a:r>
              <a:rPr lang="en-US" dirty="0"/>
              <a:t> </a:t>
            </a:r>
            <a:r>
              <a:rPr lang="en-US" dirty="0" err="1"/>
              <a:t>kumpulan</a:t>
            </a:r>
            <a:r>
              <a:rPr lang="en-US" dirty="0"/>
              <a:t>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terkait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</a:t>
            </a:r>
            <a:r>
              <a:rPr lang="en-US" dirty="0" err="1"/>
              <a:t>objek</a:t>
            </a:r>
            <a:r>
              <a:rPr lang="en-US" dirty="0"/>
              <a:t>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entitas</a:t>
            </a:r>
            <a:endParaRPr lang="en-US" dirty="0"/>
          </a:p>
          <a:p>
            <a:r>
              <a:rPr lang="en-US" dirty="0" err="1"/>
              <a:t>Tiap</a:t>
            </a:r>
            <a:r>
              <a:rPr lang="en-US" dirty="0"/>
              <a:t> baris pada table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tanda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pengidentifikasi</a:t>
            </a:r>
            <a:r>
              <a:rPr lang="en-US" dirty="0"/>
              <a:t> </a:t>
            </a:r>
            <a:r>
              <a:rPr lang="en-US" dirty="0" err="1"/>
              <a:t>unik</a:t>
            </a:r>
            <a:r>
              <a:rPr lang="en-US" dirty="0"/>
              <a:t> yang </a:t>
            </a:r>
            <a:r>
              <a:rPr lang="en-US" dirty="0" err="1"/>
              <a:t>disebut</a:t>
            </a:r>
            <a:r>
              <a:rPr lang="en-US" dirty="0"/>
              <a:t> </a:t>
            </a:r>
            <a:r>
              <a:rPr lang="en-US" b="1" dirty="0"/>
              <a:t>Primary Key</a:t>
            </a:r>
            <a:r>
              <a:rPr lang="en-US" dirty="0"/>
              <a:t>, dan baris </a:t>
            </a:r>
            <a:r>
              <a:rPr lang="en-US" dirty="0" err="1"/>
              <a:t>diantara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table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buat</a:t>
            </a:r>
            <a:r>
              <a:rPr lang="en-US" dirty="0"/>
              <a:t> </a:t>
            </a:r>
            <a:r>
              <a:rPr lang="en-US" dirty="0" err="1"/>
              <a:t>saling</a:t>
            </a:r>
            <a:r>
              <a:rPr lang="en-US" dirty="0"/>
              <a:t> </a:t>
            </a:r>
            <a:r>
              <a:rPr lang="en-US" dirty="0" err="1"/>
              <a:t>berkait</a:t>
            </a:r>
            <a:r>
              <a:rPr lang="en-US" dirty="0"/>
              <a:t> </a:t>
            </a:r>
            <a:r>
              <a:rPr lang="en-US" dirty="0" err="1"/>
              <a:t>menggunakan</a:t>
            </a:r>
            <a:r>
              <a:rPr lang="en-US" dirty="0"/>
              <a:t> </a:t>
            </a:r>
            <a:r>
              <a:rPr lang="en-US" b="1" dirty="0"/>
              <a:t>Foreign Key</a:t>
            </a:r>
          </a:p>
          <a:p>
            <a:r>
              <a:rPr lang="en-US" dirty="0"/>
              <a:t>Data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akses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cara</a:t>
            </a:r>
            <a:r>
              <a:rPr lang="en-US" dirty="0"/>
              <a:t> </a:t>
            </a:r>
            <a:r>
              <a:rPr lang="en-US" dirty="0" err="1"/>
              <a:t>tanpa</a:t>
            </a:r>
            <a:r>
              <a:rPr lang="en-US" dirty="0"/>
              <a:t> Menyusun </a:t>
            </a:r>
            <a:r>
              <a:rPr lang="en-US" dirty="0" err="1"/>
              <a:t>ulang</a:t>
            </a:r>
            <a:r>
              <a:rPr lang="en-US" dirty="0"/>
              <a:t> table basis data </a:t>
            </a:r>
            <a:r>
              <a:rPr lang="en-US" dirty="0" err="1"/>
              <a:t>itu</a:t>
            </a:r>
            <a:r>
              <a:rPr lang="en-US" dirty="0"/>
              <a:t> </a:t>
            </a:r>
            <a:r>
              <a:rPr lang="en-US" dirty="0" err="1"/>
              <a:t>sendiri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3B89C81-ECAE-C983-FAEF-3B448159B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668412"/>
              </p:ext>
            </p:extLst>
          </p:nvPr>
        </p:nvGraphicFramePr>
        <p:xfrm>
          <a:off x="5238285" y="782285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3157252-9C2C-89E4-AE51-42F69C9574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534902"/>
              </p:ext>
            </p:extLst>
          </p:nvPr>
        </p:nvGraphicFramePr>
        <p:xfrm>
          <a:off x="4174027" y="4048796"/>
          <a:ext cx="683653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7153">
                  <a:extLst>
                    <a:ext uri="{9D8B030D-6E8A-4147-A177-3AD203B41FA5}">
                      <a16:colId xmlns:a16="http://schemas.microsoft.com/office/drawing/2014/main" val="2755304946"/>
                    </a:ext>
                  </a:extLst>
                </a:gridCol>
                <a:gridCol w="1299410">
                  <a:extLst>
                    <a:ext uri="{9D8B030D-6E8A-4147-A177-3AD203B41FA5}">
                      <a16:colId xmlns:a16="http://schemas.microsoft.com/office/drawing/2014/main" val="3442484018"/>
                    </a:ext>
                  </a:extLst>
                </a:gridCol>
                <a:gridCol w="1118937">
                  <a:extLst>
                    <a:ext uri="{9D8B030D-6E8A-4147-A177-3AD203B41FA5}">
                      <a16:colId xmlns:a16="http://schemas.microsoft.com/office/drawing/2014/main" val="3629014885"/>
                    </a:ext>
                  </a:extLst>
                </a:gridCol>
                <a:gridCol w="1106906">
                  <a:extLst>
                    <a:ext uri="{9D8B030D-6E8A-4147-A177-3AD203B41FA5}">
                      <a16:colId xmlns:a16="http://schemas.microsoft.com/office/drawing/2014/main" val="1967965169"/>
                    </a:ext>
                  </a:extLst>
                </a:gridCol>
                <a:gridCol w="1431757">
                  <a:extLst>
                    <a:ext uri="{9D8B030D-6E8A-4147-A177-3AD203B41FA5}">
                      <a16:colId xmlns:a16="http://schemas.microsoft.com/office/drawing/2014/main" val="3385970404"/>
                    </a:ext>
                  </a:extLst>
                </a:gridCol>
                <a:gridCol w="902369">
                  <a:extLst>
                    <a:ext uri="{9D8B030D-6E8A-4147-A177-3AD203B41FA5}">
                      <a16:colId xmlns:a16="http://schemas.microsoft.com/office/drawing/2014/main" val="143950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d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Kemb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end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638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2837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630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319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524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3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8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60311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6D0110C-732E-6FF0-BB90-C21178DDBDB6}"/>
              </a:ext>
            </a:extLst>
          </p:cNvPr>
          <p:cNvSpPr txBox="1"/>
          <p:nvPr/>
        </p:nvSpPr>
        <p:spPr>
          <a:xfrm>
            <a:off x="5238285" y="329787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CBC566-029E-81B1-5CDA-44BDD5A556D5}"/>
              </a:ext>
            </a:extLst>
          </p:cNvPr>
          <p:cNvSpPr txBox="1"/>
          <p:nvPr/>
        </p:nvSpPr>
        <p:spPr>
          <a:xfrm>
            <a:off x="4174027" y="3636075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injam</a:t>
            </a:r>
            <a:endParaRPr lang="en-US" dirty="0"/>
          </a:p>
        </p:txBody>
      </p:sp>
      <p:sp>
        <p:nvSpPr>
          <p:cNvPr id="11" name="Up Arrow 10">
            <a:extLst>
              <a:ext uri="{FF2B5EF4-FFF2-40B4-BE49-F238E27FC236}">
                <a16:creationId xmlns:a16="http://schemas.microsoft.com/office/drawing/2014/main" id="{DEBFBB3B-F04C-828E-1BE9-69A4971022BB}"/>
              </a:ext>
            </a:extLst>
          </p:cNvPr>
          <p:cNvSpPr/>
          <p:nvPr/>
        </p:nvSpPr>
        <p:spPr>
          <a:xfrm>
            <a:off x="5694218" y="2809205"/>
            <a:ext cx="180109" cy="474322"/>
          </a:xfrm>
          <a:prstGeom prst="upArrow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25D77E-755D-DC71-367D-0E657EA52E4E}"/>
              </a:ext>
            </a:extLst>
          </p:cNvPr>
          <p:cNvSpPr txBox="1"/>
          <p:nvPr/>
        </p:nvSpPr>
        <p:spPr>
          <a:xfrm>
            <a:off x="5132330" y="3244334"/>
            <a:ext cx="1336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Primary Key</a:t>
            </a:r>
          </a:p>
        </p:txBody>
      </p:sp>
      <p:sp>
        <p:nvSpPr>
          <p:cNvPr id="13" name="Bent Arrow 12">
            <a:extLst>
              <a:ext uri="{FF2B5EF4-FFF2-40B4-BE49-F238E27FC236}">
                <a16:creationId xmlns:a16="http://schemas.microsoft.com/office/drawing/2014/main" id="{D5F17C0E-27D8-C002-C8A5-01B10A0285C8}"/>
              </a:ext>
            </a:extLst>
          </p:cNvPr>
          <p:cNvSpPr/>
          <p:nvPr/>
        </p:nvSpPr>
        <p:spPr>
          <a:xfrm rot="5400000">
            <a:off x="6187811" y="3280356"/>
            <a:ext cx="1049734" cy="487145"/>
          </a:xfrm>
          <a:prstGeom prst="bentArrow">
            <a:avLst>
              <a:gd name="adj1" fmla="val 27346"/>
              <a:gd name="adj2" fmla="val 25000"/>
              <a:gd name="adj3" fmla="val 25000"/>
              <a:gd name="adj4" fmla="val 43750"/>
            </a:avLst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5C2275-0D89-ADF6-D421-B60E00CB0114}"/>
              </a:ext>
            </a:extLst>
          </p:cNvPr>
          <p:cNvSpPr txBox="1"/>
          <p:nvPr/>
        </p:nvSpPr>
        <p:spPr>
          <a:xfrm>
            <a:off x="6893418" y="3396202"/>
            <a:ext cx="1303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oreign Key</a:t>
            </a:r>
          </a:p>
        </p:txBody>
      </p:sp>
    </p:spTree>
    <p:extLst>
      <p:ext uri="{BB962C8B-B14F-4D97-AF65-F5344CB8AC3E}">
        <p14:creationId xmlns:p14="http://schemas.microsoft.com/office/powerpoint/2010/main" val="2692544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B8D2B5-4627-C0BD-C0F1-F3076D9D2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8</a:t>
            </a:fld>
            <a:endParaRPr lang="en-US" noProof="0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11B422E1-7FDC-14C1-5D62-97EB91AD3B1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7299812"/>
              </p:ext>
            </p:extLst>
          </p:nvPr>
        </p:nvGraphicFramePr>
        <p:xfrm>
          <a:off x="515938" y="1536289"/>
          <a:ext cx="7844289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79F16C8-D44E-AF98-151A-7FD6283A4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stilah-istilah</a:t>
            </a:r>
            <a:r>
              <a:rPr lang="en-US" dirty="0"/>
              <a:t> yang </a:t>
            </a:r>
            <a:r>
              <a:rPr lang="en-US" dirty="0" err="1"/>
              <a:t>ada</a:t>
            </a:r>
            <a:r>
              <a:rPr lang="en-US" dirty="0"/>
              <a:t> pada database </a:t>
            </a:r>
            <a:r>
              <a:rPr lang="en-US" dirty="0" err="1"/>
              <a:t>relasion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C13EF3E-DB20-10A8-9239-0F727A7A8D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788692"/>
              </p:ext>
            </p:extLst>
          </p:nvPr>
        </p:nvGraphicFramePr>
        <p:xfrm>
          <a:off x="7300356" y="3429000"/>
          <a:ext cx="4665238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2849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837806">
                  <a:extLst>
                    <a:ext uri="{9D8B030D-6E8A-4147-A177-3AD203B41FA5}">
                      <a16:colId xmlns:a16="http://schemas.microsoft.com/office/drawing/2014/main" val="3452400586"/>
                    </a:ext>
                  </a:extLst>
                </a:gridCol>
                <a:gridCol w="2764583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udul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elaja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873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r>
                        <a:rPr lang="en-US" sz="1400" dirty="0"/>
                        <a:t> dan </a:t>
                      </a:r>
                      <a:r>
                        <a:rPr lang="en-US" sz="1400" dirty="0" err="1"/>
                        <a:t>Jaringan</a:t>
                      </a:r>
                      <a:r>
                        <a:rPr lang="en-US" sz="1400" dirty="0"/>
                        <a:t> Das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6308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Implementasi</a:t>
                      </a:r>
                      <a:r>
                        <a:rPr lang="en-US" sz="1400" dirty="0"/>
                        <a:t> SPK </a:t>
                      </a:r>
                      <a:r>
                        <a:rPr lang="en-US" sz="1400" dirty="0" err="1"/>
                        <a:t>untuk</a:t>
                      </a:r>
                      <a:r>
                        <a:rPr lang="en-US" sz="1400" dirty="0"/>
                        <a:t>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806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ramal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arang</a:t>
                      </a:r>
                      <a:r>
                        <a:rPr lang="en-US" sz="1400" dirty="0"/>
                        <a:t> XYS 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a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T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63855BF-7F24-A255-CF58-FB6AFA7A6299}"/>
              </a:ext>
            </a:extLst>
          </p:cNvPr>
          <p:cNvSpPr txBox="1"/>
          <p:nvPr/>
        </p:nvSpPr>
        <p:spPr>
          <a:xfrm>
            <a:off x="7300356" y="3059668"/>
            <a:ext cx="654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uk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277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6C9F72-6654-B951-9832-A514A2510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42C3C-A92C-7C45-C4D0-0A37C286A6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825625"/>
            <a:ext cx="1083786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err="1"/>
              <a:t>Dalam</a:t>
            </a:r>
            <a:r>
              <a:rPr lang="en-US"/>
              <a:t> </a:t>
            </a:r>
            <a:r>
              <a:rPr lang="en-US" err="1"/>
              <a:t>sebuah</a:t>
            </a:r>
            <a:r>
              <a:rPr lang="en-US"/>
              <a:t> basis data, 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ncari</a:t>
            </a:r>
            <a:r>
              <a:rPr lang="en-US"/>
              <a:t> </a:t>
            </a:r>
            <a:r>
              <a:rPr lang="en-US" err="1"/>
              <a:t>satu</a:t>
            </a:r>
            <a:r>
              <a:rPr lang="en-US"/>
              <a:t> data </a:t>
            </a:r>
            <a:r>
              <a:rPr lang="en-US" err="1"/>
              <a:t>dari</a:t>
            </a:r>
            <a:r>
              <a:rPr lang="en-US"/>
              <a:t> </a:t>
            </a:r>
            <a:r>
              <a:rPr lang="en-US" err="1"/>
              <a:t>keseluruhan</a:t>
            </a:r>
            <a:r>
              <a:rPr lang="en-US"/>
              <a:t> data </a:t>
            </a:r>
            <a:r>
              <a:rPr lang="en-US" err="1"/>
              <a:t>secara</a:t>
            </a:r>
            <a:r>
              <a:rPr lang="en-US"/>
              <a:t> </a:t>
            </a:r>
            <a:r>
              <a:rPr lang="en-US" err="1"/>
              <a:t>umum</a:t>
            </a:r>
            <a:r>
              <a:rPr lang="en-US"/>
              <a:t>, </a:t>
            </a:r>
            <a:r>
              <a:rPr lang="en-US" err="1"/>
              <a:t>dibutuhkan</a:t>
            </a:r>
            <a:r>
              <a:rPr lang="en-US"/>
              <a:t> </a:t>
            </a:r>
            <a:r>
              <a:rPr lang="en-US" err="1"/>
              <a:t>kunci</a:t>
            </a:r>
            <a:r>
              <a:rPr lang="en-US"/>
              <a:t>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mpermudah</a:t>
            </a:r>
            <a:r>
              <a:rPr lang="en-US"/>
              <a:t> </a:t>
            </a:r>
            <a:r>
              <a:rPr lang="en-US" err="1"/>
              <a:t>pencarian</a:t>
            </a:r>
            <a:r>
              <a:rPr lang="en-US"/>
              <a:t> dan </a:t>
            </a:r>
            <a:r>
              <a:rPr lang="en-US" err="1"/>
              <a:t>mempersingkat</a:t>
            </a:r>
            <a:r>
              <a:rPr lang="en-US"/>
              <a:t> </a:t>
            </a:r>
            <a:r>
              <a:rPr lang="en-US" err="1"/>
              <a:t>waktu</a:t>
            </a:r>
            <a:r>
              <a:rPr lang="en-US"/>
              <a:t> yang </a:t>
            </a:r>
            <a:r>
              <a:rPr lang="en-US" err="1"/>
              <a:t>digunakan</a:t>
            </a:r>
            <a:r>
              <a:rPr lang="en-US"/>
              <a:t>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lakukan</a:t>
            </a:r>
            <a:r>
              <a:rPr lang="en-US"/>
              <a:t> </a:t>
            </a:r>
            <a:r>
              <a:rPr lang="en-US" err="1"/>
              <a:t>tanpa</a:t>
            </a:r>
            <a:r>
              <a:rPr lang="en-US"/>
              <a:t> </a:t>
            </a:r>
            <a:r>
              <a:rPr lang="en-US" err="1"/>
              <a:t>harus</a:t>
            </a:r>
            <a:r>
              <a:rPr lang="en-US"/>
              <a:t> </a:t>
            </a:r>
            <a:r>
              <a:rPr lang="en-US" err="1"/>
              <a:t>melakukan</a:t>
            </a:r>
            <a:r>
              <a:rPr lang="en-US"/>
              <a:t> </a:t>
            </a:r>
            <a:r>
              <a:rPr lang="en-US" err="1"/>
              <a:t>penelusuran</a:t>
            </a:r>
            <a:r>
              <a:rPr lang="en-US"/>
              <a:t> </a:t>
            </a:r>
            <a:r>
              <a:rPr lang="en-US" err="1"/>
              <a:t>terhadap</a:t>
            </a:r>
            <a:r>
              <a:rPr lang="en-US"/>
              <a:t> </a:t>
            </a:r>
            <a:r>
              <a:rPr lang="en-US" err="1"/>
              <a:t>seluruh</a:t>
            </a:r>
            <a:r>
              <a:rPr lang="en-US"/>
              <a:t> data.</a:t>
            </a:r>
          </a:p>
          <a:p>
            <a:r>
              <a:rPr lang="en-US"/>
              <a:t>Super key</a:t>
            </a:r>
          </a:p>
          <a:p>
            <a:r>
              <a:rPr lang="en-US"/>
              <a:t>Candidate key</a:t>
            </a:r>
          </a:p>
          <a:p>
            <a:r>
              <a:rPr lang="en-US"/>
              <a:t>Primary key</a:t>
            </a:r>
          </a:p>
          <a:p>
            <a:r>
              <a:rPr lang="en-US"/>
              <a:t>Alternate key</a:t>
            </a:r>
          </a:p>
          <a:p>
            <a:r>
              <a:rPr lang="en-US"/>
              <a:t>Foreign ke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815C31-7AD7-5FD3-06B1-C0F029BE4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anchor="b">
            <a:normAutofit/>
          </a:bodyPr>
          <a:lstStyle/>
          <a:p>
            <a:r>
              <a:rPr lang="en-US" dirty="0"/>
              <a:t>Relational key</a:t>
            </a:r>
          </a:p>
        </p:txBody>
      </p:sp>
    </p:spTree>
    <p:extLst>
      <p:ext uri="{BB962C8B-B14F-4D97-AF65-F5344CB8AC3E}">
        <p14:creationId xmlns:p14="http://schemas.microsoft.com/office/powerpoint/2010/main" val="3489716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ontoso v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C567A"/>
      </a:accent1>
      <a:accent2>
        <a:srgbClr val="0072C7"/>
      </a:accent2>
      <a:accent3>
        <a:srgbClr val="0D1D51"/>
      </a:accent3>
      <a:accent4>
        <a:srgbClr val="666666"/>
      </a:accent4>
      <a:accent5>
        <a:srgbClr val="3C76A6"/>
      </a:accent5>
      <a:accent6>
        <a:srgbClr val="1E44BC"/>
      </a:accent6>
      <a:hlink>
        <a:srgbClr val="0563C1"/>
      </a:hlink>
      <a:folHlink>
        <a:srgbClr val="954F72"/>
      </a:folHlink>
    </a:clrScheme>
    <a:fontScheme name="Contoso v1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34076243_Blue spheres presentation_RVA_v5" id="{E4C0B511-76E7-4C07-AFEA-8FEA0A5A8C84}" vid="{3A463146-28EF-4F73-B63C-03710F66E2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1071E6-22AE-499A-B09C-BF21CF5F74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A9B47F-3DD8-4645-81DC-B88780643C07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B0C07E3D-60A7-4F4E-8208-D9CCD01982C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ue spheres presentation</Template>
  <TotalTime>303</TotalTime>
  <Words>1661</Words>
  <Application>Microsoft Macintosh PowerPoint</Application>
  <PresentationFormat>Widescreen</PresentationFormat>
  <Paragraphs>622</Paragraphs>
  <Slides>22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Corbel</vt:lpstr>
      <vt:lpstr>Helvetica Neue</vt:lpstr>
      <vt:lpstr>inherit</vt:lpstr>
      <vt:lpstr>OracleSansVF</vt:lpstr>
      <vt:lpstr>Poppins</vt:lpstr>
      <vt:lpstr>PT Serif</vt:lpstr>
      <vt:lpstr>Wingdings</vt:lpstr>
      <vt:lpstr>Office Theme</vt:lpstr>
      <vt:lpstr>Konsep basis data relasional</vt:lpstr>
      <vt:lpstr>Model basis data</vt:lpstr>
      <vt:lpstr>Penemu model data relasional </vt:lpstr>
      <vt:lpstr>Apa itu Basis data relasional? </vt:lpstr>
      <vt:lpstr>Contoh</vt:lpstr>
      <vt:lpstr>PowerPoint Presentation</vt:lpstr>
      <vt:lpstr>PowerPoint Presentation</vt:lpstr>
      <vt:lpstr>Istilah-istilah yang ada pada database relasional</vt:lpstr>
      <vt:lpstr>Relational key</vt:lpstr>
      <vt:lpstr>Relational key</vt:lpstr>
      <vt:lpstr>PowerPoint Presentation</vt:lpstr>
      <vt:lpstr>Relational Integrity Rules</vt:lpstr>
      <vt:lpstr>Kelebihan model data relasional</vt:lpstr>
      <vt:lpstr>Contoh KAS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al Latiha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nnisa Puspa Kirana</dc:creator>
  <cp:lastModifiedBy>elok hamdana</cp:lastModifiedBy>
  <cp:revision>3</cp:revision>
  <dcterms:created xsi:type="dcterms:W3CDTF">2024-02-13T05:00:34Z</dcterms:created>
  <dcterms:modified xsi:type="dcterms:W3CDTF">2024-02-19T07:4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